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48" r:id="rId4"/>
  </p:sldMasterIdLst>
  <p:notesMasterIdLst>
    <p:notesMasterId r:id="rId5"/>
  </p:notesMasterIdLst>
  <p:handoutMasterIdLst>
    <p:handoutMasterId r:id="rId6"/>
  </p:handoutMasterIdLst>
  <p:sldSz cx="12192000" cy="6858000"/>
  <p:notesSz cx="6858000" cy="9144000"/>
  <p:embeddedFontLst>
    <p:embeddedFont>
      <p:font typeface="Syne Bold" pitchFamily="2" charset="77"/>
      <p:bold r:id="rId7"/>
    </p:embeddedFont>
    <p:embeddedFont>
      <p:font typeface="Syne Medium" pitchFamily="2" charset="77"/>
      <p:regular r:id="rId8"/>
    </p:embeddedFont>
    <p:embeddedFont>
      <p:font typeface="Syne Regular" pitchFamily="2" charset="77"/>
      <p:regular r:id="rId9"/>
      <p:bold r:id="rId10"/>
    </p:embeddedFont>
  </p:embeddedFont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AFAFA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266"/>
    <p:restoredTop sz="96327"/>
  </p:normalViewPr>
  <p:slideViewPr>
    <p:cSldViewPr snapToGrid="0">
      <p:cViewPr varScale="1">
        <p:scale>
          <a:sx n="128" d="100"/>
          <a:sy n="128" d="100"/>
        </p:scale>
        <p:origin x="1136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68" d="100"/>
          <a:sy n="168" d="100"/>
        </p:scale>
        <p:origin x="5432" y="21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font" Target="fonts/font1.fntdata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handoutMaster" Target="handoutMasters/handoutMaster1.xml"/><Relationship Id="rId11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10" Type="http://schemas.openxmlformats.org/officeDocument/2006/relationships/font" Target="fonts/font4.fntdata"/><Relationship Id="rId4" Type="http://schemas.openxmlformats.org/officeDocument/2006/relationships/slideMaster" Target="slideMasters/slideMaster1.xml"/><Relationship Id="rId9" Type="http://schemas.openxmlformats.org/officeDocument/2006/relationships/font" Target="fonts/font3.fntdata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A627CBF4-F51C-3310-40C8-E468B67425B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D971DBEC-C943-FB3D-470F-F5094440F01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BDB678-9895-2148-BDB2-82F6587CA450}" type="datetimeFigureOut">
              <a:rPr lang="fr-FR" smtClean="0"/>
              <a:t>04/12/2024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CE9F9116-9701-5B60-D140-2C02F8504CF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2AB8EF72-C1DB-0ADF-696E-02C141305A4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8EB4FB-B7ED-0944-BF68-12D9FA3B895D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860994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69FA3E1-FFCD-2E43-8FF9-DDCE5CB9726D}" type="datetimeFigureOut">
              <a:rPr lang="fr-FR" smtClean="0"/>
              <a:t>04/12/202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13DEF6-10F8-1141-BD35-D6262AAE4CB9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401696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11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2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titre + photo (flamingo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Espace réservé pour une image  19">
            <a:extLst>
              <a:ext uri="{FF2B5EF4-FFF2-40B4-BE49-F238E27FC236}">
                <a16:creationId xmlns:a16="http://schemas.microsoft.com/office/drawing/2014/main" id="{511F3EEC-8189-2052-B57C-397C9753DC5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362198" y="1"/>
            <a:ext cx="9829802" cy="4276155"/>
          </a:xfrm>
          <a:custGeom>
            <a:avLst/>
            <a:gdLst>
              <a:gd name="connsiteX0" fmla="*/ 2011052 w 9829802"/>
              <a:gd name="connsiteY0" fmla="*/ 0 h 4276155"/>
              <a:gd name="connsiteX1" fmla="*/ 6026856 w 9829802"/>
              <a:gd name="connsiteY1" fmla="*/ 0 h 4276155"/>
              <a:gd name="connsiteX2" fmla="*/ 7957306 w 9829802"/>
              <a:gd name="connsiteY2" fmla="*/ 4099198 h 4276155"/>
              <a:gd name="connsiteX3" fmla="*/ 7957306 w 9829802"/>
              <a:gd name="connsiteY3" fmla="*/ 0 h 4276155"/>
              <a:gd name="connsiteX4" fmla="*/ 9829802 w 9829802"/>
              <a:gd name="connsiteY4" fmla="*/ 0 h 4276155"/>
              <a:gd name="connsiteX5" fmla="*/ 9829802 w 9829802"/>
              <a:gd name="connsiteY5" fmla="*/ 4276155 h 4276155"/>
              <a:gd name="connsiteX6" fmla="*/ 9813687 w 9829802"/>
              <a:gd name="connsiteY6" fmla="*/ 4276155 h 4276155"/>
              <a:gd name="connsiteX7" fmla="*/ 0 w 9829802"/>
              <a:gd name="connsiteY7" fmla="*/ 4276155 h 4276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829802" h="4276155">
                <a:moveTo>
                  <a:pt x="2011052" y="0"/>
                </a:moveTo>
                <a:lnTo>
                  <a:pt x="6026856" y="0"/>
                </a:lnTo>
                <a:lnTo>
                  <a:pt x="7957306" y="4099198"/>
                </a:lnTo>
                <a:lnTo>
                  <a:pt x="7957306" y="0"/>
                </a:lnTo>
                <a:lnTo>
                  <a:pt x="9829802" y="0"/>
                </a:lnTo>
                <a:lnTo>
                  <a:pt x="9829802" y="4276155"/>
                </a:lnTo>
                <a:lnTo>
                  <a:pt x="9813687" y="4276155"/>
                </a:lnTo>
                <a:lnTo>
                  <a:pt x="0" y="4276155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B61E6B2F-E456-5782-3B98-F627DBF759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2000" y="3554900"/>
            <a:ext cx="9144000" cy="2387600"/>
          </a:xfrm>
        </p:spPr>
        <p:txBody>
          <a:bodyPr anchor="t"/>
          <a:lstStyle>
            <a:lvl1pPr algn="l">
              <a:lnSpc>
                <a:spcPct val="85000"/>
              </a:lnSpc>
              <a:defRPr sz="60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562A1E55-410F-ED77-A57B-0F6BA9CEAC5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6139" y="477643"/>
            <a:ext cx="2989384" cy="461665"/>
          </a:xfrm>
        </p:spPr>
        <p:txBody>
          <a:bodyPr wrap="square">
            <a:spAutoFit/>
          </a:bodyPr>
          <a:lstStyle>
            <a:lvl1pPr marL="0" indent="0" algn="l">
              <a:buNone/>
              <a:defRPr sz="150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sp>
        <p:nvSpPr>
          <p:cNvPr id="10" name="Graphique 8">
            <a:extLst>
              <a:ext uri="{FF2B5EF4-FFF2-40B4-BE49-F238E27FC236}">
                <a16:creationId xmlns:a16="http://schemas.microsoft.com/office/drawing/2014/main" id="{427AEA8B-DCED-8EF9-2A45-35F1B3BD64EC}"/>
              </a:ext>
            </a:extLst>
          </p:cNvPr>
          <p:cNvSpPr/>
          <p:nvPr/>
        </p:nvSpPr>
        <p:spPr>
          <a:xfrm>
            <a:off x="9525000" y="6268956"/>
            <a:ext cx="2300959" cy="211047"/>
          </a:xfrm>
          <a:custGeom>
            <a:avLst/>
            <a:gdLst>
              <a:gd name="connsiteX0" fmla="*/ 7768727 w 7769775"/>
              <a:gd name="connsiteY0" fmla="*/ 2607 h 712655"/>
              <a:gd name="connsiteX1" fmla="*/ 7468012 w 7769775"/>
              <a:gd name="connsiteY1" fmla="*/ 2607 h 712655"/>
              <a:gd name="connsiteX2" fmla="*/ 7465388 w 7769775"/>
              <a:gd name="connsiteY2" fmla="*/ 2607 h 712655"/>
              <a:gd name="connsiteX3" fmla="*/ 7465388 w 7769775"/>
              <a:gd name="connsiteY3" fmla="*/ 5213 h 712655"/>
              <a:gd name="connsiteX4" fmla="*/ 7465388 w 7769775"/>
              <a:gd name="connsiteY4" fmla="*/ 674599 h 712655"/>
              <a:gd name="connsiteX5" fmla="*/ 7147879 w 7769775"/>
              <a:gd name="connsiteY5" fmla="*/ 4171 h 712655"/>
              <a:gd name="connsiteX6" fmla="*/ 7145255 w 7769775"/>
              <a:gd name="connsiteY6" fmla="*/ 5213 h 712655"/>
              <a:gd name="connsiteX7" fmla="*/ 7145255 w 7769775"/>
              <a:gd name="connsiteY7" fmla="*/ 5213 h 712655"/>
              <a:gd name="connsiteX8" fmla="*/ 7147879 w 7769775"/>
              <a:gd name="connsiteY8" fmla="*/ 4171 h 712655"/>
              <a:gd name="connsiteX9" fmla="*/ 7147355 w 7769775"/>
              <a:gd name="connsiteY9" fmla="*/ 2607 h 712655"/>
              <a:gd name="connsiteX10" fmla="*/ 7145780 w 7769775"/>
              <a:gd name="connsiteY10" fmla="*/ 2607 h 712655"/>
              <a:gd name="connsiteX11" fmla="*/ 6827222 w 7769775"/>
              <a:gd name="connsiteY11" fmla="*/ 2607 h 712655"/>
              <a:gd name="connsiteX12" fmla="*/ 6825123 w 7769775"/>
              <a:gd name="connsiteY12" fmla="*/ 2607 h 712655"/>
              <a:gd name="connsiteX13" fmla="*/ 6823023 w 7769775"/>
              <a:gd name="connsiteY13" fmla="*/ 2607 h 712655"/>
              <a:gd name="connsiteX14" fmla="*/ 6820924 w 7769775"/>
              <a:gd name="connsiteY14" fmla="*/ 2607 h 712655"/>
              <a:gd name="connsiteX15" fmla="*/ 6502366 w 7769775"/>
              <a:gd name="connsiteY15" fmla="*/ 2607 h 712655"/>
              <a:gd name="connsiteX16" fmla="*/ 6500791 w 7769775"/>
              <a:gd name="connsiteY16" fmla="*/ 2607 h 712655"/>
              <a:gd name="connsiteX17" fmla="*/ 6500267 w 7769775"/>
              <a:gd name="connsiteY17" fmla="*/ 4171 h 712655"/>
              <a:gd name="connsiteX18" fmla="*/ 6502366 w 7769775"/>
              <a:gd name="connsiteY18" fmla="*/ 5213 h 712655"/>
              <a:gd name="connsiteX19" fmla="*/ 6502366 w 7769775"/>
              <a:gd name="connsiteY19" fmla="*/ 5213 h 712655"/>
              <a:gd name="connsiteX20" fmla="*/ 6499742 w 7769775"/>
              <a:gd name="connsiteY20" fmla="*/ 4171 h 712655"/>
              <a:gd name="connsiteX21" fmla="*/ 6171213 w 7769775"/>
              <a:gd name="connsiteY21" fmla="*/ 699623 h 712655"/>
              <a:gd name="connsiteX22" fmla="*/ 6169638 w 7769775"/>
              <a:gd name="connsiteY22" fmla="*/ 703272 h 712655"/>
              <a:gd name="connsiteX23" fmla="*/ 6173837 w 7769775"/>
              <a:gd name="connsiteY23" fmla="*/ 703272 h 712655"/>
              <a:gd name="connsiteX24" fmla="*/ 6492394 w 7769775"/>
              <a:gd name="connsiteY24" fmla="*/ 703272 h 712655"/>
              <a:gd name="connsiteX25" fmla="*/ 6493969 w 7769775"/>
              <a:gd name="connsiteY25" fmla="*/ 703272 h 712655"/>
              <a:gd name="connsiteX26" fmla="*/ 6494494 w 7769775"/>
              <a:gd name="connsiteY26" fmla="*/ 701708 h 712655"/>
              <a:gd name="connsiteX27" fmla="*/ 6491870 w 7769775"/>
              <a:gd name="connsiteY27" fmla="*/ 700665 h 712655"/>
              <a:gd name="connsiteX28" fmla="*/ 6491870 w 7769775"/>
              <a:gd name="connsiteY28" fmla="*/ 700665 h 712655"/>
              <a:gd name="connsiteX29" fmla="*/ 6494494 w 7769775"/>
              <a:gd name="connsiteY29" fmla="*/ 701708 h 712655"/>
              <a:gd name="connsiteX30" fmla="*/ 6823023 w 7769775"/>
              <a:gd name="connsiteY30" fmla="*/ 6256 h 712655"/>
              <a:gd name="connsiteX31" fmla="*/ 6820399 w 7769775"/>
              <a:gd name="connsiteY31" fmla="*/ 5213 h 712655"/>
              <a:gd name="connsiteX32" fmla="*/ 6820399 w 7769775"/>
              <a:gd name="connsiteY32" fmla="*/ 5213 h 712655"/>
              <a:gd name="connsiteX33" fmla="*/ 6823023 w 7769775"/>
              <a:gd name="connsiteY33" fmla="*/ 6256 h 712655"/>
              <a:gd name="connsiteX34" fmla="*/ 6823548 w 7769775"/>
              <a:gd name="connsiteY34" fmla="*/ 4692 h 712655"/>
              <a:gd name="connsiteX35" fmla="*/ 6824073 w 7769775"/>
              <a:gd name="connsiteY35" fmla="*/ 6256 h 712655"/>
              <a:gd name="connsiteX36" fmla="*/ 7152603 w 7769775"/>
              <a:gd name="connsiteY36" fmla="*/ 701708 h 712655"/>
              <a:gd name="connsiteX37" fmla="*/ 7155227 w 7769775"/>
              <a:gd name="connsiteY37" fmla="*/ 700665 h 712655"/>
              <a:gd name="connsiteX38" fmla="*/ 7155227 w 7769775"/>
              <a:gd name="connsiteY38" fmla="*/ 700665 h 712655"/>
              <a:gd name="connsiteX39" fmla="*/ 7152603 w 7769775"/>
              <a:gd name="connsiteY39" fmla="*/ 701708 h 712655"/>
              <a:gd name="connsiteX40" fmla="*/ 7153127 w 7769775"/>
              <a:gd name="connsiteY40" fmla="*/ 703272 h 712655"/>
              <a:gd name="connsiteX41" fmla="*/ 7154702 w 7769775"/>
              <a:gd name="connsiteY41" fmla="*/ 703272 h 712655"/>
              <a:gd name="connsiteX42" fmla="*/ 7463813 w 7769775"/>
              <a:gd name="connsiteY42" fmla="*/ 703272 h 712655"/>
              <a:gd name="connsiteX43" fmla="*/ 7466437 w 7769775"/>
              <a:gd name="connsiteY43" fmla="*/ 703272 h 712655"/>
              <a:gd name="connsiteX44" fmla="*/ 7472735 w 7769775"/>
              <a:gd name="connsiteY44" fmla="*/ 703272 h 712655"/>
              <a:gd name="connsiteX45" fmla="*/ 7476933 w 7769775"/>
              <a:gd name="connsiteY45" fmla="*/ 703272 h 712655"/>
              <a:gd name="connsiteX46" fmla="*/ 7767152 w 7769775"/>
              <a:gd name="connsiteY46" fmla="*/ 703272 h 712655"/>
              <a:gd name="connsiteX47" fmla="*/ 7769776 w 7769775"/>
              <a:gd name="connsiteY47" fmla="*/ 703272 h 712655"/>
              <a:gd name="connsiteX48" fmla="*/ 7769776 w 7769775"/>
              <a:gd name="connsiteY48" fmla="*/ 700665 h 712655"/>
              <a:gd name="connsiteX49" fmla="*/ 7769776 w 7769775"/>
              <a:gd name="connsiteY49" fmla="*/ 5213 h 712655"/>
              <a:gd name="connsiteX50" fmla="*/ 7769776 w 7769775"/>
              <a:gd name="connsiteY50" fmla="*/ 2607 h 712655"/>
              <a:gd name="connsiteX51" fmla="*/ 7768727 w 7769775"/>
              <a:gd name="connsiteY51" fmla="*/ 2607 h 712655"/>
              <a:gd name="connsiteX52" fmla="*/ 6820924 w 7769775"/>
              <a:gd name="connsiteY52" fmla="*/ 5213 h 712655"/>
              <a:gd name="connsiteX53" fmla="*/ 6820924 w 7769775"/>
              <a:gd name="connsiteY53" fmla="*/ 5213 h 712655"/>
              <a:gd name="connsiteX54" fmla="*/ 6820924 w 7769775"/>
              <a:gd name="connsiteY54" fmla="*/ 5213 h 712655"/>
              <a:gd name="connsiteX55" fmla="*/ 6820924 w 7769775"/>
              <a:gd name="connsiteY55" fmla="*/ 5213 h 712655"/>
              <a:gd name="connsiteX56" fmla="*/ 6820924 w 7769775"/>
              <a:gd name="connsiteY56" fmla="*/ 5213 h 712655"/>
              <a:gd name="connsiteX57" fmla="*/ 1609585 w 7769775"/>
              <a:gd name="connsiteY57" fmla="*/ 42228 h 712655"/>
              <a:gd name="connsiteX58" fmla="*/ 1348231 w 7769775"/>
              <a:gd name="connsiteY58" fmla="*/ 0 h 712655"/>
              <a:gd name="connsiteX59" fmla="*/ 1086352 w 7769775"/>
              <a:gd name="connsiteY59" fmla="*/ 42228 h 712655"/>
              <a:gd name="connsiteX60" fmla="*/ 926285 w 7769775"/>
              <a:gd name="connsiteY60" fmla="*/ 163697 h 712655"/>
              <a:gd name="connsiteX61" fmla="*/ 872230 w 7769775"/>
              <a:gd name="connsiteY61" fmla="*/ 356589 h 712655"/>
              <a:gd name="connsiteX62" fmla="*/ 926285 w 7769775"/>
              <a:gd name="connsiteY62" fmla="*/ 547395 h 712655"/>
              <a:gd name="connsiteX63" fmla="*/ 1086352 w 7769775"/>
              <a:gd name="connsiteY63" fmla="*/ 668864 h 712655"/>
              <a:gd name="connsiteX64" fmla="*/ 1348231 w 7769775"/>
              <a:gd name="connsiteY64" fmla="*/ 711092 h 712655"/>
              <a:gd name="connsiteX65" fmla="*/ 1609585 w 7769775"/>
              <a:gd name="connsiteY65" fmla="*/ 668864 h 712655"/>
              <a:gd name="connsiteX66" fmla="*/ 1769126 w 7769775"/>
              <a:gd name="connsiteY66" fmla="*/ 547395 h 712655"/>
              <a:gd name="connsiteX67" fmla="*/ 1823182 w 7769775"/>
              <a:gd name="connsiteY67" fmla="*/ 356589 h 712655"/>
              <a:gd name="connsiteX68" fmla="*/ 1769126 w 7769775"/>
              <a:gd name="connsiteY68" fmla="*/ 163697 h 712655"/>
              <a:gd name="connsiteX69" fmla="*/ 1609585 w 7769775"/>
              <a:gd name="connsiteY69" fmla="*/ 42228 h 712655"/>
              <a:gd name="connsiteX70" fmla="*/ 1610110 w 7769775"/>
              <a:gd name="connsiteY70" fmla="*/ 480665 h 712655"/>
              <a:gd name="connsiteX71" fmla="*/ 1504623 w 7769775"/>
              <a:gd name="connsiteY71" fmla="*/ 551566 h 712655"/>
              <a:gd name="connsiteX72" fmla="*/ 1348231 w 7769775"/>
              <a:gd name="connsiteY72" fmla="*/ 574504 h 712655"/>
              <a:gd name="connsiteX73" fmla="*/ 1190264 w 7769775"/>
              <a:gd name="connsiteY73" fmla="*/ 551566 h 712655"/>
              <a:gd name="connsiteX74" fmla="*/ 1082153 w 7769775"/>
              <a:gd name="connsiteY74" fmla="*/ 480665 h 712655"/>
              <a:gd name="connsiteX75" fmla="*/ 1042793 w 7769775"/>
              <a:gd name="connsiteY75" fmla="*/ 356589 h 712655"/>
              <a:gd name="connsiteX76" fmla="*/ 1082153 w 7769775"/>
              <a:gd name="connsiteY76" fmla="*/ 231991 h 712655"/>
              <a:gd name="connsiteX77" fmla="*/ 1190264 w 7769775"/>
              <a:gd name="connsiteY77" fmla="*/ 160048 h 712655"/>
              <a:gd name="connsiteX78" fmla="*/ 1348231 w 7769775"/>
              <a:gd name="connsiteY78" fmla="*/ 136588 h 712655"/>
              <a:gd name="connsiteX79" fmla="*/ 1504623 w 7769775"/>
              <a:gd name="connsiteY79" fmla="*/ 160048 h 712655"/>
              <a:gd name="connsiteX80" fmla="*/ 1610110 w 7769775"/>
              <a:gd name="connsiteY80" fmla="*/ 231991 h 712655"/>
              <a:gd name="connsiteX81" fmla="*/ 1648421 w 7769775"/>
              <a:gd name="connsiteY81" fmla="*/ 356589 h 712655"/>
              <a:gd name="connsiteX82" fmla="*/ 1610110 w 7769775"/>
              <a:gd name="connsiteY82" fmla="*/ 480665 h 712655"/>
              <a:gd name="connsiteX83" fmla="*/ 697469 w 7769775"/>
              <a:gd name="connsiteY83" fmla="*/ 70901 h 712655"/>
              <a:gd name="connsiteX84" fmla="*/ 697469 w 7769775"/>
              <a:gd name="connsiteY84" fmla="*/ 70901 h 712655"/>
              <a:gd name="connsiteX85" fmla="*/ 602479 w 7769775"/>
              <a:gd name="connsiteY85" fmla="*/ 28673 h 712655"/>
              <a:gd name="connsiteX86" fmla="*/ 486497 w 7769775"/>
              <a:gd name="connsiteY86" fmla="*/ 15119 h 712655"/>
              <a:gd name="connsiteX87" fmla="*/ 0 w 7769775"/>
              <a:gd name="connsiteY87" fmla="*/ 15119 h 712655"/>
              <a:gd name="connsiteX88" fmla="*/ 0 w 7769775"/>
              <a:gd name="connsiteY88" fmla="*/ 697016 h 712655"/>
              <a:gd name="connsiteX89" fmla="*/ 165314 w 7769775"/>
              <a:gd name="connsiteY89" fmla="*/ 697016 h 712655"/>
              <a:gd name="connsiteX90" fmla="*/ 165314 w 7769775"/>
              <a:gd name="connsiteY90" fmla="*/ 484314 h 712655"/>
              <a:gd name="connsiteX91" fmla="*/ 486497 w 7769775"/>
              <a:gd name="connsiteY91" fmla="*/ 484314 h 712655"/>
              <a:gd name="connsiteX92" fmla="*/ 602479 w 7769775"/>
              <a:gd name="connsiteY92" fmla="*/ 473366 h 712655"/>
              <a:gd name="connsiteX93" fmla="*/ 697469 w 7769775"/>
              <a:gd name="connsiteY93" fmla="*/ 435831 h 712655"/>
              <a:gd name="connsiteX94" fmla="*/ 760446 w 7769775"/>
              <a:gd name="connsiteY94" fmla="*/ 364930 h 712655"/>
              <a:gd name="connsiteX95" fmla="*/ 783013 w 7769775"/>
              <a:gd name="connsiteY95" fmla="*/ 255972 h 712655"/>
              <a:gd name="connsiteX96" fmla="*/ 760446 w 7769775"/>
              <a:gd name="connsiteY96" fmla="*/ 144408 h 712655"/>
              <a:gd name="connsiteX97" fmla="*/ 697469 w 7769775"/>
              <a:gd name="connsiteY97" fmla="*/ 70901 h 712655"/>
              <a:gd name="connsiteX98" fmla="*/ 587260 w 7769775"/>
              <a:gd name="connsiteY98" fmla="*/ 332086 h 712655"/>
              <a:gd name="connsiteX99" fmla="*/ 505390 w 7769775"/>
              <a:gd name="connsiteY99" fmla="*/ 358153 h 712655"/>
              <a:gd name="connsiteX100" fmla="*/ 165314 w 7769775"/>
              <a:gd name="connsiteY100" fmla="*/ 358153 h 712655"/>
              <a:gd name="connsiteX101" fmla="*/ 165314 w 7769775"/>
              <a:gd name="connsiteY101" fmla="*/ 154313 h 712655"/>
              <a:gd name="connsiteX102" fmla="*/ 505390 w 7769775"/>
              <a:gd name="connsiteY102" fmla="*/ 154313 h 712655"/>
              <a:gd name="connsiteX103" fmla="*/ 587260 w 7769775"/>
              <a:gd name="connsiteY103" fmla="*/ 179858 h 712655"/>
              <a:gd name="connsiteX104" fmla="*/ 618223 w 7769775"/>
              <a:gd name="connsiteY104" fmla="*/ 257015 h 712655"/>
              <a:gd name="connsiteX105" fmla="*/ 587260 w 7769775"/>
              <a:gd name="connsiteY105" fmla="*/ 332086 h 712655"/>
              <a:gd name="connsiteX106" fmla="*/ 2573656 w 7769775"/>
              <a:gd name="connsiteY106" fmla="*/ 360759 h 712655"/>
              <a:gd name="connsiteX107" fmla="*/ 2573656 w 7769775"/>
              <a:gd name="connsiteY107" fmla="*/ 360759 h 712655"/>
              <a:gd name="connsiteX108" fmla="*/ 2479716 w 7769775"/>
              <a:gd name="connsiteY108" fmla="*/ 324266 h 712655"/>
              <a:gd name="connsiteX109" fmla="*/ 2353762 w 7769775"/>
              <a:gd name="connsiteY109" fmla="*/ 303413 h 712655"/>
              <a:gd name="connsiteX110" fmla="*/ 2232531 w 7769775"/>
              <a:gd name="connsiteY110" fmla="*/ 288816 h 712655"/>
              <a:gd name="connsiteX111" fmla="*/ 2156959 w 7769775"/>
              <a:gd name="connsiteY111" fmla="*/ 271091 h 712655"/>
              <a:gd name="connsiteX112" fmla="*/ 2118123 w 7769775"/>
              <a:gd name="connsiteY112" fmla="*/ 248152 h 712655"/>
              <a:gd name="connsiteX113" fmla="*/ 2107102 w 7769775"/>
              <a:gd name="connsiteY113" fmla="*/ 215830 h 712655"/>
              <a:gd name="connsiteX114" fmla="*/ 2152761 w 7769775"/>
              <a:gd name="connsiteY114" fmla="*/ 152749 h 712655"/>
              <a:gd name="connsiteX115" fmla="*/ 2275566 w 7769775"/>
              <a:gd name="connsiteY115" fmla="*/ 135024 h 712655"/>
              <a:gd name="connsiteX116" fmla="*/ 2406768 w 7769775"/>
              <a:gd name="connsiteY116" fmla="*/ 160569 h 712655"/>
              <a:gd name="connsiteX117" fmla="*/ 2462397 w 7769775"/>
              <a:gd name="connsiteY117" fmla="*/ 242939 h 712655"/>
              <a:gd name="connsiteX118" fmla="*/ 2626662 w 7769775"/>
              <a:gd name="connsiteY118" fmla="*/ 242939 h 712655"/>
              <a:gd name="connsiteX119" fmla="*/ 2538494 w 7769775"/>
              <a:gd name="connsiteY119" fmla="*/ 64645 h 712655"/>
              <a:gd name="connsiteX120" fmla="*/ 2280289 w 7769775"/>
              <a:gd name="connsiteY120" fmla="*/ 0 h 712655"/>
              <a:gd name="connsiteX121" fmla="*/ 2091883 w 7769775"/>
              <a:gd name="connsiteY121" fmla="*/ 25545 h 712655"/>
              <a:gd name="connsiteX122" fmla="*/ 1976425 w 7769775"/>
              <a:gd name="connsiteY122" fmla="*/ 98010 h 712655"/>
              <a:gd name="connsiteX123" fmla="*/ 1937590 w 7769775"/>
              <a:gd name="connsiteY123" fmla="*/ 208010 h 712655"/>
              <a:gd name="connsiteX124" fmla="*/ 1960681 w 7769775"/>
              <a:gd name="connsiteY124" fmla="*/ 291423 h 712655"/>
              <a:gd name="connsiteX125" fmla="*/ 2025757 w 7769775"/>
              <a:gd name="connsiteY125" fmla="*/ 349811 h 712655"/>
              <a:gd name="connsiteX126" fmla="*/ 2124421 w 7769775"/>
              <a:gd name="connsiteY126" fmla="*/ 388390 h 712655"/>
              <a:gd name="connsiteX127" fmla="*/ 2248801 w 7769775"/>
              <a:gd name="connsiteY127" fmla="*/ 408200 h 712655"/>
              <a:gd name="connsiteX128" fmla="*/ 2388399 w 7769775"/>
              <a:gd name="connsiteY128" fmla="*/ 426447 h 712655"/>
              <a:gd name="connsiteX129" fmla="*/ 2463972 w 7769775"/>
              <a:gd name="connsiteY129" fmla="*/ 449906 h 712655"/>
              <a:gd name="connsiteX130" fmla="*/ 2487063 w 7769775"/>
              <a:gd name="connsiteY130" fmla="*/ 490570 h 712655"/>
              <a:gd name="connsiteX131" fmla="*/ 2469745 w 7769775"/>
              <a:gd name="connsiteY131" fmla="*/ 538532 h 712655"/>
              <a:gd name="connsiteX132" fmla="*/ 2415165 w 7769775"/>
              <a:gd name="connsiteY132" fmla="*/ 568248 h 712655"/>
              <a:gd name="connsiteX133" fmla="*/ 2318600 w 7769775"/>
              <a:gd name="connsiteY133" fmla="*/ 578153 h 712655"/>
              <a:gd name="connsiteX134" fmla="*/ 2204717 w 7769775"/>
              <a:gd name="connsiteY134" fmla="*/ 563556 h 712655"/>
              <a:gd name="connsiteX135" fmla="*/ 2123896 w 7769775"/>
              <a:gd name="connsiteY135" fmla="*/ 522371 h 712655"/>
              <a:gd name="connsiteX136" fmla="*/ 2088209 w 7769775"/>
              <a:gd name="connsiteY136" fmla="*/ 462418 h 712655"/>
              <a:gd name="connsiteX137" fmla="*/ 1915548 w 7769775"/>
              <a:gd name="connsiteY137" fmla="*/ 462418 h 712655"/>
              <a:gd name="connsiteX138" fmla="*/ 1928143 w 7769775"/>
              <a:gd name="connsiteY138" fmla="*/ 529148 h 712655"/>
              <a:gd name="connsiteX139" fmla="*/ 1972227 w 7769775"/>
              <a:gd name="connsiteY139" fmla="*/ 596921 h 712655"/>
              <a:gd name="connsiteX140" fmla="*/ 2049374 w 7769775"/>
              <a:gd name="connsiteY140" fmla="*/ 655831 h 712655"/>
              <a:gd name="connsiteX141" fmla="*/ 2159583 w 7769775"/>
              <a:gd name="connsiteY141" fmla="*/ 697538 h 712655"/>
              <a:gd name="connsiteX142" fmla="*/ 2304430 w 7769775"/>
              <a:gd name="connsiteY142" fmla="*/ 712656 h 712655"/>
              <a:gd name="connsiteX143" fmla="*/ 2501758 w 7769775"/>
              <a:gd name="connsiteY143" fmla="*/ 687632 h 712655"/>
              <a:gd name="connsiteX144" fmla="*/ 2613542 w 7769775"/>
              <a:gd name="connsiteY144" fmla="*/ 615689 h 712655"/>
              <a:gd name="connsiteX145" fmla="*/ 2649229 w 7769775"/>
              <a:gd name="connsiteY145" fmla="*/ 502039 h 712655"/>
              <a:gd name="connsiteX146" fmla="*/ 2630336 w 7769775"/>
              <a:gd name="connsiteY146" fmla="*/ 417584 h 712655"/>
              <a:gd name="connsiteX147" fmla="*/ 2573656 w 7769775"/>
              <a:gd name="connsiteY147" fmla="*/ 360759 h 712655"/>
              <a:gd name="connsiteX148" fmla="*/ 4264586 w 7769775"/>
              <a:gd name="connsiteY148" fmla="*/ 14597 h 712655"/>
              <a:gd name="connsiteX149" fmla="*/ 4586818 w 7769775"/>
              <a:gd name="connsiteY149" fmla="*/ 696495 h 712655"/>
              <a:gd name="connsiteX150" fmla="*/ 4747934 w 7769775"/>
              <a:gd name="connsiteY150" fmla="*/ 696495 h 712655"/>
              <a:gd name="connsiteX151" fmla="*/ 4447220 w 7769775"/>
              <a:gd name="connsiteY151" fmla="*/ 14597 h 712655"/>
              <a:gd name="connsiteX152" fmla="*/ 4264586 w 7769775"/>
              <a:gd name="connsiteY152" fmla="*/ 14597 h 712655"/>
              <a:gd name="connsiteX153" fmla="*/ 5317351 w 7769775"/>
              <a:gd name="connsiteY153" fmla="*/ 696495 h 712655"/>
              <a:gd name="connsiteX154" fmla="*/ 6000650 w 7769775"/>
              <a:gd name="connsiteY154" fmla="*/ 696495 h 712655"/>
              <a:gd name="connsiteX155" fmla="*/ 6064152 w 7769775"/>
              <a:gd name="connsiteY155" fmla="*/ 562513 h 712655"/>
              <a:gd name="connsiteX156" fmla="*/ 5482665 w 7769775"/>
              <a:gd name="connsiteY156" fmla="*/ 562513 h 712655"/>
              <a:gd name="connsiteX157" fmla="*/ 5482665 w 7769775"/>
              <a:gd name="connsiteY157" fmla="*/ 411328 h 712655"/>
              <a:gd name="connsiteX158" fmla="*/ 5960765 w 7769775"/>
              <a:gd name="connsiteY158" fmla="*/ 411328 h 712655"/>
              <a:gd name="connsiteX159" fmla="*/ 5960765 w 7769775"/>
              <a:gd name="connsiteY159" fmla="*/ 301849 h 712655"/>
              <a:gd name="connsiteX160" fmla="*/ 5482665 w 7769775"/>
              <a:gd name="connsiteY160" fmla="*/ 301849 h 712655"/>
              <a:gd name="connsiteX161" fmla="*/ 5482665 w 7769775"/>
              <a:gd name="connsiteY161" fmla="*/ 148579 h 712655"/>
              <a:gd name="connsiteX162" fmla="*/ 6065726 w 7769775"/>
              <a:gd name="connsiteY162" fmla="*/ 148579 h 712655"/>
              <a:gd name="connsiteX163" fmla="*/ 6065726 w 7769775"/>
              <a:gd name="connsiteY163" fmla="*/ 14597 h 712655"/>
              <a:gd name="connsiteX164" fmla="*/ 5317351 w 7769775"/>
              <a:gd name="connsiteY164" fmla="*/ 14597 h 712655"/>
              <a:gd name="connsiteX165" fmla="*/ 5317351 w 7769775"/>
              <a:gd name="connsiteY165" fmla="*/ 696495 h 712655"/>
              <a:gd name="connsiteX166" fmla="*/ 2792501 w 7769775"/>
              <a:gd name="connsiteY166" fmla="*/ 696495 h 712655"/>
              <a:gd name="connsiteX167" fmla="*/ 2957815 w 7769775"/>
              <a:gd name="connsiteY167" fmla="*/ 696495 h 712655"/>
              <a:gd name="connsiteX168" fmla="*/ 2957815 w 7769775"/>
              <a:gd name="connsiteY168" fmla="*/ 14597 h 712655"/>
              <a:gd name="connsiteX169" fmla="*/ 2792501 w 7769775"/>
              <a:gd name="connsiteY169" fmla="*/ 14597 h 712655"/>
              <a:gd name="connsiteX170" fmla="*/ 2792501 w 7769775"/>
              <a:gd name="connsiteY170" fmla="*/ 696495 h 712655"/>
              <a:gd name="connsiteX171" fmla="*/ 4747934 w 7769775"/>
              <a:gd name="connsiteY171" fmla="*/ 696495 h 712655"/>
              <a:gd name="connsiteX172" fmla="*/ 4909050 w 7769775"/>
              <a:gd name="connsiteY172" fmla="*/ 696495 h 712655"/>
              <a:gd name="connsiteX173" fmla="*/ 5231807 w 7769775"/>
              <a:gd name="connsiteY173" fmla="*/ 14597 h 712655"/>
              <a:gd name="connsiteX174" fmla="*/ 5049699 w 7769775"/>
              <a:gd name="connsiteY174" fmla="*/ 14597 h 712655"/>
              <a:gd name="connsiteX175" fmla="*/ 4747934 w 7769775"/>
              <a:gd name="connsiteY175" fmla="*/ 696495 h 712655"/>
              <a:gd name="connsiteX176" fmla="*/ 3079571 w 7769775"/>
              <a:gd name="connsiteY176" fmla="*/ 148579 h 712655"/>
              <a:gd name="connsiteX177" fmla="*/ 3396555 w 7769775"/>
              <a:gd name="connsiteY177" fmla="*/ 148579 h 712655"/>
              <a:gd name="connsiteX178" fmla="*/ 3396555 w 7769775"/>
              <a:gd name="connsiteY178" fmla="*/ 696495 h 712655"/>
              <a:gd name="connsiteX179" fmla="*/ 3561869 w 7769775"/>
              <a:gd name="connsiteY179" fmla="*/ 696495 h 712655"/>
              <a:gd name="connsiteX180" fmla="*/ 3561869 w 7769775"/>
              <a:gd name="connsiteY180" fmla="*/ 148579 h 712655"/>
              <a:gd name="connsiteX181" fmla="*/ 3878853 w 7769775"/>
              <a:gd name="connsiteY181" fmla="*/ 148579 h 712655"/>
              <a:gd name="connsiteX182" fmla="*/ 3878853 w 7769775"/>
              <a:gd name="connsiteY182" fmla="*/ 14597 h 712655"/>
              <a:gd name="connsiteX183" fmla="*/ 3079571 w 7769775"/>
              <a:gd name="connsiteY183" fmla="*/ 14597 h 712655"/>
              <a:gd name="connsiteX184" fmla="*/ 3079571 w 7769775"/>
              <a:gd name="connsiteY184" fmla="*/ 148579 h 712655"/>
              <a:gd name="connsiteX185" fmla="*/ 4001658 w 7769775"/>
              <a:gd name="connsiteY185" fmla="*/ 696495 h 712655"/>
              <a:gd name="connsiteX186" fmla="*/ 4166972 w 7769775"/>
              <a:gd name="connsiteY186" fmla="*/ 696495 h 712655"/>
              <a:gd name="connsiteX187" fmla="*/ 4166972 w 7769775"/>
              <a:gd name="connsiteY187" fmla="*/ 14597 h 712655"/>
              <a:gd name="connsiteX188" fmla="*/ 4001658 w 7769775"/>
              <a:gd name="connsiteY188" fmla="*/ 14597 h 712655"/>
              <a:gd name="connsiteX189" fmla="*/ 4001658 w 7769775"/>
              <a:gd name="connsiteY189" fmla="*/ 696495 h 7126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</a:cxnLst>
            <a:rect l="l" t="t" r="r" b="b"/>
            <a:pathLst>
              <a:path w="7769775" h="712655">
                <a:moveTo>
                  <a:pt x="7768727" y="2607"/>
                </a:moveTo>
                <a:lnTo>
                  <a:pt x="7468012" y="2607"/>
                </a:lnTo>
                <a:lnTo>
                  <a:pt x="7465388" y="2607"/>
                </a:lnTo>
                <a:lnTo>
                  <a:pt x="7465388" y="5213"/>
                </a:lnTo>
                <a:lnTo>
                  <a:pt x="7465388" y="674599"/>
                </a:lnTo>
                <a:lnTo>
                  <a:pt x="7147879" y="4171"/>
                </a:lnTo>
                <a:lnTo>
                  <a:pt x="7145255" y="5213"/>
                </a:lnTo>
                <a:lnTo>
                  <a:pt x="7145255" y="5213"/>
                </a:lnTo>
                <a:lnTo>
                  <a:pt x="7147879" y="4171"/>
                </a:lnTo>
                <a:lnTo>
                  <a:pt x="7147355" y="2607"/>
                </a:lnTo>
                <a:lnTo>
                  <a:pt x="7145780" y="2607"/>
                </a:lnTo>
                <a:lnTo>
                  <a:pt x="6827222" y="2607"/>
                </a:lnTo>
                <a:lnTo>
                  <a:pt x="6825123" y="2607"/>
                </a:lnTo>
                <a:lnTo>
                  <a:pt x="6823023" y="2607"/>
                </a:lnTo>
                <a:lnTo>
                  <a:pt x="6820924" y="2607"/>
                </a:lnTo>
                <a:lnTo>
                  <a:pt x="6502366" y="2607"/>
                </a:lnTo>
                <a:lnTo>
                  <a:pt x="6500791" y="2607"/>
                </a:lnTo>
                <a:lnTo>
                  <a:pt x="6500267" y="4171"/>
                </a:lnTo>
                <a:lnTo>
                  <a:pt x="6502366" y="5213"/>
                </a:lnTo>
                <a:lnTo>
                  <a:pt x="6502366" y="5213"/>
                </a:lnTo>
                <a:lnTo>
                  <a:pt x="6499742" y="4171"/>
                </a:lnTo>
                <a:lnTo>
                  <a:pt x="6171213" y="699623"/>
                </a:lnTo>
                <a:lnTo>
                  <a:pt x="6169638" y="703272"/>
                </a:lnTo>
                <a:lnTo>
                  <a:pt x="6173837" y="703272"/>
                </a:lnTo>
                <a:lnTo>
                  <a:pt x="6492394" y="703272"/>
                </a:lnTo>
                <a:lnTo>
                  <a:pt x="6493969" y="703272"/>
                </a:lnTo>
                <a:lnTo>
                  <a:pt x="6494494" y="701708"/>
                </a:lnTo>
                <a:lnTo>
                  <a:pt x="6491870" y="700665"/>
                </a:lnTo>
                <a:lnTo>
                  <a:pt x="6491870" y="700665"/>
                </a:lnTo>
                <a:lnTo>
                  <a:pt x="6494494" y="701708"/>
                </a:lnTo>
                <a:lnTo>
                  <a:pt x="6823023" y="6256"/>
                </a:lnTo>
                <a:lnTo>
                  <a:pt x="6820399" y="5213"/>
                </a:lnTo>
                <a:lnTo>
                  <a:pt x="6820399" y="5213"/>
                </a:lnTo>
                <a:lnTo>
                  <a:pt x="6823023" y="6256"/>
                </a:lnTo>
                <a:lnTo>
                  <a:pt x="6823548" y="4692"/>
                </a:lnTo>
                <a:lnTo>
                  <a:pt x="6824073" y="6256"/>
                </a:lnTo>
                <a:lnTo>
                  <a:pt x="7152603" y="701708"/>
                </a:lnTo>
                <a:lnTo>
                  <a:pt x="7155227" y="700665"/>
                </a:lnTo>
                <a:lnTo>
                  <a:pt x="7155227" y="700665"/>
                </a:lnTo>
                <a:lnTo>
                  <a:pt x="7152603" y="701708"/>
                </a:lnTo>
                <a:lnTo>
                  <a:pt x="7153127" y="703272"/>
                </a:lnTo>
                <a:lnTo>
                  <a:pt x="7154702" y="703272"/>
                </a:lnTo>
                <a:lnTo>
                  <a:pt x="7463813" y="703272"/>
                </a:lnTo>
                <a:lnTo>
                  <a:pt x="7466437" y="703272"/>
                </a:lnTo>
                <a:lnTo>
                  <a:pt x="7472735" y="703272"/>
                </a:lnTo>
                <a:lnTo>
                  <a:pt x="7476933" y="703272"/>
                </a:lnTo>
                <a:lnTo>
                  <a:pt x="7767152" y="703272"/>
                </a:lnTo>
                <a:lnTo>
                  <a:pt x="7769776" y="703272"/>
                </a:lnTo>
                <a:lnTo>
                  <a:pt x="7769776" y="700665"/>
                </a:lnTo>
                <a:lnTo>
                  <a:pt x="7769776" y="5213"/>
                </a:lnTo>
                <a:lnTo>
                  <a:pt x="7769776" y="2607"/>
                </a:lnTo>
                <a:lnTo>
                  <a:pt x="7768727" y="2607"/>
                </a:lnTo>
                <a:close/>
                <a:moveTo>
                  <a:pt x="6820924" y="5213"/>
                </a:moveTo>
                <a:lnTo>
                  <a:pt x="6820924" y="5213"/>
                </a:lnTo>
                <a:lnTo>
                  <a:pt x="6820924" y="5213"/>
                </a:lnTo>
                <a:lnTo>
                  <a:pt x="6820924" y="5213"/>
                </a:lnTo>
                <a:lnTo>
                  <a:pt x="6820924" y="5213"/>
                </a:lnTo>
                <a:close/>
                <a:moveTo>
                  <a:pt x="1609585" y="42228"/>
                </a:moveTo>
                <a:cubicBezTo>
                  <a:pt x="1539261" y="14076"/>
                  <a:pt x="1452143" y="0"/>
                  <a:pt x="1348231" y="0"/>
                </a:cubicBezTo>
                <a:cubicBezTo>
                  <a:pt x="1244319" y="0"/>
                  <a:pt x="1157201" y="14076"/>
                  <a:pt x="1086352" y="42228"/>
                </a:cubicBezTo>
                <a:cubicBezTo>
                  <a:pt x="1015503" y="70379"/>
                  <a:pt x="962497" y="111043"/>
                  <a:pt x="926285" y="163697"/>
                </a:cubicBezTo>
                <a:cubicBezTo>
                  <a:pt x="890074" y="216351"/>
                  <a:pt x="872230" y="280996"/>
                  <a:pt x="872230" y="356589"/>
                </a:cubicBezTo>
                <a:cubicBezTo>
                  <a:pt x="872230" y="432703"/>
                  <a:pt x="890074" y="494741"/>
                  <a:pt x="926285" y="547395"/>
                </a:cubicBezTo>
                <a:cubicBezTo>
                  <a:pt x="962497" y="600049"/>
                  <a:pt x="1015503" y="640713"/>
                  <a:pt x="1086352" y="668864"/>
                </a:cubicBezTo>
                <a:cubicBezTo>
                  <a:pt x="1157201" y="697016"/>
                  <a:pt x="1244319" y="711092"/>
                  <a:pt x="1348231" y="711092"/>
                </a:cubicBezTo>
                <a:cubicBezTo>
                  <a:pt x="1452143" y="711092"/>
                  <a:pt x="1539261" y="697016"/>
                  <a:pt x="1609585" y="668864"/>
                </a:cubicBezTo>
                <a:cubicBezTo>
                  <a:pt x="1679909" y="640713"/>
                  <a:pt x="1732915" y="600049"/>
                  <a:pt x="1769126" y="547395"/>
                </a:cubicBezTo>
                <a:cubicBezTo>
                  <a:pt x="1805338" y="494741"/>
                  <a:pt x="1823182" y="431139"/>
                  <a:pt x="1823182" y="356589"/>
                </a:cubicBezTo>
                <a:cubicBezTo>
                  <a:pt x="1823182" y="282039"/>
                  <a:pt x="1805338" y="216351"/>
                  <a:pt x="1769126" y="163697"/>
                </a:cubicBezTo>
                <a:cubicBezTo>
                  <a:pt x="1733439" y="111043"/>
                  <a:pt x="1679909" y="70379"/>
                  <a:pt x="1609585" y="42228"/>
                </a:cubicBezTo>
                <a:close/>
                <a:moveTo>
                  <a:pt x="1610110" y="480665"/>
                </a:moveTo>
                <a:cubicBezTo>
                  <a:pt x="1584919" y="512466"/>
                  <a:pt x="1549757" y="536447"/>
                  <a:pt x="1504623" y="551566"/>
                </a:cubicBezTo>
                <a:cubicBezTo>
                  <a:pt x="1459490" y="566684"/>
                  <a:pt x="1407534" y="574504"/>
                  <a:pt x="1348231" y="574504"/>
                </a:cubicBezTo>
                <a:cubicBezTo>
                  <a:pt x="1288927" y="574504"/>
                  <a:pt x="1236447" y="567205"/>
                  <a:pt x="1190264" y="551566"/>
                </a:cubicBezTo>
                <a:cubicBezTo>
                  <a:pt x="1144081" y="536447"/>
                  <a:pt x="1108394" y="512987"/>
                  <a:pt x="1082153" y="480665"/>
                </a:cubicBezTo>
                <a:cubicBezTo>
                  <a:pt x="1055913" y="448864"/>
                  <a:pt x="1042793" y="407158"/>
                  <a:pt x="1042793" y="356589"/>
                </a:cubicBezTo>
                <a:cubicBezTo>
                  <a:pt x="1042793" y="306020"/>
                  <a:pt x="1055913" y="264314"/>
                  <a:pt x="1082153" y="231991"/>
                </a:cubicBezTo>
                <a:cubicBezTo>
                  <a:pt x="1108394" y="199669"/>
                  <a:pt x="1144081" y="175688"/>
                  <a:pt x="1190264" y="160048"/>
                </a:cubicBezTo>
                <a:cubicBezTo>
                  <a:pt x="1236447" y="144408"/>
                  <a:pt x="1288927" y="136588"/>
                  <a:pt x="1348231" y="136588"/>
                </a:cubicBezTo>
                <a:cubicBezTo>
                  <a:pt x="1407534" y="136588"/>
                  <a:pt x="1459490" y="144408"/>
                  <a:pt x="1504623" y="160048"/>
                </a:cubicBezTo>
                <a:cubicBezTo>
                  <a:pt x="1549232" y="175688"/>
                  <a:pt x="1584919" y="199669"/>
                  <a:pt x="1610110" y="231991"/>
                </a:cubicBezTo>
                <a:cubicBezTo>
                  <a:pt x="1635300" y="264314"/>
                  <a:pt x="1648421" y="306020"/>
                  <a:pt x="1648421" y="356589"/>
                </a:cubicBezTo>
                <a:cubicBezTo>
                  <a:pt x="1648421" y="407158"/>
                  <a:pt x="1635825" y="448864"/>
                  <a:pt x="1610110" y="480665"/>
                </a:cubicBezTo>
                <a:close/>
                <a:moveTo>
                  <a:pt x="697469" y="70901"/>
                </a:moveTo>
                <a:lnTo>
                  <a:pt x="697469" y="70901"/>
                </a:lnTo>
                <a:cubicBezTo>
                  <a:pt x="670704" y="52133"/>
                  <a:pt x="638691" y="38057"/>
                  <a:pt x="602479" y="28673"/>
                </a:cubicBezTo>
                <a:cubicBezTo>
                  <a:pt x="566267" y="19810"/>
                  <a:pt x="527432" y="15119"/>
                  <a:pt x="486497" y="15119"/>
                </a:cubicBezTo>
                <a:lnTo>
                  <a:pt x="0" y="15119"/>
                </a:lnTo>
                <a:lnTo>
                  <a:pt x="0" y="697016"/>
                </a:lnTo>
                <a:lnTo>
                  <a:pt x="165314" y="697016"/>
                </a:lnTo>
                <a:lnTo>
                  <a:pt x="165314" y="484314"/>
                </a:lnTo>
                <a:lnTo>
                  <a:pt x="486497" y="484314"/>
                </a:lnTo>
                <a:cubicBezTo>
                  <a:pt x="527432" y="484314"/>
                  <a:pt x="566267" y="480665"/>
                  <a:pt x="602479" y="473366"/>
                </a:cubicBezTo>
                <a:cubicBezTo>
                  <a:pt x="638691" y="466068"/>
                  <a:pt x="670704" y="453556"/>
                  <a:pt x="697469" y="435831"/>
                </a:cubicBezTo>
                <a:cubicBezTo>
                  <a:pt x="724234" y="418105"/>
                  <a:pt x="745227" y="394646"/>
                  <a:pt x="760446" y="364930"/>
                </a:cubicBezTo>
                <a:cubicBezTo>
                  <a:pt x="775666" y="335214"/>
                  <a:pt x="783013" y="299243"/>
                  <a:pt x="783013" y="255972"/>
                </a:cubicBezTo>
                <a:cubicBezTo>
                  <a:pt x="783013" y="212702"/>
                  <a:pt x="775666" y="175166"/>
                  <a:pt x="760446" y="144408"/>
                </a:cubicBezTo>
                <a:cubicBezTo>
                  <a:pt x="745227" y="114692"/>
                  <a:pt x="724234" y="89669"/>
                  <a:pt x="697469" y="70901"/>
                </a:cubicBezTo>
                <a:close/>
                <a:moveTo>
                  <a:pt x="587260" y="332086"/>
                </a:moveTo>
                <a:cubicBezTo>
                  <a:pt x="566792" y="349290"/>
                  <a:pt x="539502" y="358153"/>
                  <a:pt x="505390" y="358153"/>
                </a:cubicBezTo>
                <a:lnTo>
                  <a:pt x="165314" y="358153"/>
                </a:lnTo>
                <a:lnTo>
                  <a:pt x="165314" y="154313"/>
                </a:lnTo>
                <a:lnTo>
                  <a:pt x="505390" y="154313"/>
                </a:lnTo>
                <a:cubicBezTo>
                  <a:pt x="539502" y="154313"/>
                  <a:pt x="566267" y="162654"/>
                  <a:pt x="587260" y="179858"/>
                </a:cubicBezTo>
                <a:cubicBezTo>
                  <a:pt x="607727" y="196541"/>
                  <a:pt x="618223" y="222607"/>
                  <a:pt x="618223" y="257015"/>
                </a:cubicBezTo>
                <a:cubicBezTo>
                  <a:pt x="618223" y="291423"/>
                  <a:pt x="607727" y="314882"/>
                  <a:pt x="587260" y="332086"/>
                </a:cubicBezTo>
                <a:close/>
                <a:moveTo>
                  <a:pt x="2573656" y="360759"/>
                </a:moveTo>
                <a:lnTo>
                  <a:pt x="2573656" y="360759"/>
                </a:lnTo>
                <a:cubicBezTo>
                  <a:pt x="2547416" y="346162"/>
                  <a:pt x="2516452" y="333650"/>
                  <a:pt x="2479716" y="324266"/>
                </a:cubicBezTo>
                <a:cubicBezTo>
                  <a:pt x="2442979" y="314882"/>
                  <a:pt x="2400995" y="308105"/>
                  <a:pt x="2353762" y="303413"/>
                </a:cubicBezTo>
                <a:cubicBezTo>
                  <a:pt x="2304955" y="299243"/>
                  <a:pt x="2264545" y="294551"/>
                  <a:pt x="2232531" y="288816"/>
                </a:cubicBezTo>
                <a:cubicBezTo>
                  <a:pt x="2200518" y="283081"/>
                  <a:pt x="2175327" y="277347"/>
                  <a:pt x="2156959" y="271091"/>
                </a:cubicBezTo>
                <a:cubicBezTo>
                  <a:pt x="2138591" y="264835"/>
                  <a:pt x="2125471" y="257015"/>
                  <a:pt x="2118123" y="248152"/>
                </a:cubicBezTo>
                <a:cubicBezTo>
                  <a:pt x="2110776" y="239290"/>
                  <a:pt x="2107102" y="228863"/>
                  <a:pt x="2107102" y="215830"/>
                </a:cubicBezTo>
                <a:cubicBezTo>
                  <a:pt x="2107102" y="185593"/>
                  <a:pt x="2122322" y="164740"/>
                  <a:pt x="2152761" y="152749"/>
                </a:cubicBezTo>
                <a:cubicBezTo>
                  <a:pt x="2183200" y="140759"/>
                  <a:pt x="2224135" y="135024"/>
                  <a:pt x="2275566" y="135024"/>
                </a:cubicBezTo>
                <a:cubicBezTo>
                  <a:pt x="2326997" y="135024"/>
                  <a:pt x="2373180" y="143365"/>
                  <a:pt x="2406768" y="160569"/>
                </a:cubicBezTo>
                <a:cubicBezTo>
                  <a:pt x="2440355" y="177252"/>
                  <a:pt x="2458724" y="204882"/>
                  <a:pt x="2462397" y="242939"/>
                </a:cubicBezTo>
                <a:lnTo>
                  <a:pt x="2626662" y="242939"/>
                </a:lnTo>
                <a:cubicBezTo>
                  <a:pt x="2628236" y="166825"/>
                  <a:pt x="2598847" y="107394"/>
                  <a:pt x="2538494" y="64645"/>
                </a:cubicBezTo>
                <a:cubicBezTo>
                  <a:pt x="2477617" y="21374"/>
                  <a:pt x="2392073" y="0"/>
                  <a:pt x="2280289" y="0"/>
                </a:cubicBezTo>
                <a:cubicBezTo>
                  <a:pt x="2206291" y="0"/>
                  <a:pt x="2143314" y="8341"/>
                  <a:pt x="2091883" y="25545"/>
                </a:cubicBezTo>
                <a:cubicBezTo>
                  <a:pt x="2040452" y="42228"/>
                  <a:pt x="2002141" y="66730"/>
                  <a:pt x="1976425" y="98010"/>
                </a:cubicBezTo>
                <a:cubicBezTo>
                  <a:pt x="1950710" y="129289"/>
                  <a:pt x="1937590" y="166304"/>
                  <a:pt x="1937590" y="208010"/>
                </a:cubicBezTo>
                <a:cubicBezTo>
                  <a:pt x="1937590" y="240332"/>
                  <a:pt x="1945462" y="267963"/>
                  <a:pt x="1960681" y="291423"/>
                </a:cubicBezTo>
                <a:cubicBezTo>
                  <a:pt x="1976425" y="314882"/>
                  <a:pt x="1997943" y="334172"/>
                  <a:pt x="2025757" y="349811"/>
                </a:cubicBezTo>
                <a:cubicBezTo>
                  <a:pt x="2053572" y="365451"/>
                  <a:pt x="2086635" y="378484"/>
                  <a:pt x="2124421" y="388390"/>
                </a:cubicBezTo>
                <a:cubicBezTo>
                  <a:pt x="2162207" y="398295"/>
                  <a:pt x="2203667" y="405072"/>
                  <a:pt x="2248801" y="408200"/>
                </a:cubicBezTo>
                <a:cubicBezTo>
                  <a:pt x="2306529" y="414456"/>
                  <a:pt x="2353237" y="420712"/>
                  <a:pt x="2388399" y="426447"/>
                </a:cubicBezTo>
                <a:cubicBezTo>
                  <a:pt x="2423561" y="432181"/>
                  <a:pt x="2448752" y="440001"/>
                  <a:pt x="2463972" y="449906"/>
                </a:cubicBezTo>
                <a:cubicBezTo>
                  <a:pt x="2479716" y="459290"/>
                  <a:pt x="2487063" y="472845"/>
                  <a:pt x="2487063" y="490570"/>
                </a:cubicBezTo>
                <a:cubicBezTo>
                  <a:pt x="2487063" y="509338"/>
                  <a:pt x="2481290" y="525499"/>
                  <a:pt x="2469745" y="538532"/>
                </a:cubicBezTo>
                <a:cubicBezTo>
                  <a:pt x="2458199" y="551566"/>
                  <a:pt x="2439830" y="561471"/>
                  <a:pt x="2415165" y="568248"/>
                </a:cubicBezTo>
                <a:cubicBezTo>
                  <a:pt x="2390499" y="575025"/>
                  <a:pt x="2358485" y="578153"/>
                  <a:pt x="2318600" y="578153"/>
                </a:cubicBezTo>
                <a:cubicBezTo>
                  <a:pt x="2276091" y="578153"/>
                  <a:pt x="2238304" y="573461"/>
                  <a:pt x="2204717" y="563556"/>
                </a:cubicBezTo>
                <a:cubicBezTo>
                  <a:pt x="2171129" y="553651"/>
                  <a:pt x="2144364" y="540096"/>
                  <a:pt x="2123896" y="522371"/>
                </a:cubicBezTo>
                <a:cubicBezTo>
                  <a:pt x="2103954" y="504646"/>
                  <a:pt x="2091883" y="484835"/>
                  <a:pt x="2088209" y="462418"/>
                </a:cubicBezTo>
                <a:lnTo>
                  <a:pt x="1915548" y="462418"/>
                </a:lnTo>
                <a:cubicBezTo>
                  <a:pt x="1915023" y="483271"/>
                  <a:pt x="1919221" y="505689"/>
                  <a:pt x="1928143" y="529148"/>
                </a:cubicBezTo>
                <a:cubicBezTo>
                  <a:pt x="1937065" y="552608"/>
                  <a:pt x="1951759" y="575025"/>
                  <a:pt x="1972227" y="596921"/>
                </a:cubicBezTo>
                <a:cubicBezTo>
                  <a:pt x="1992170" y="618817"/>
                  <a:pt x="2018410" y="638627"/>
                  <a:pt x="2049374" y="655831"/>
                </a:cubicBezTo>
                <a:cubicBezTo>
                  <a:pt x="2080862" y="673556"/>
                  <a:pt x="2117599" y="687111"/>
                  <a:pt x="2159583" y="697538"/>
                </a:cubicBezTo>
                <a:cubicBezTo>
                  <a:pt x="2201568" y="707964"/>
                  <a:pt x="2249850" y="712656"/>
                  <a:pt x="2304430" y="712656"/>
                </a:cubicBezTo>
                <a:cubicBezTo>
                  <a:pt x="2385250" y="712656"/>
                  <a:pt x="2450851" y="704315"/>
                  <a:pt x="2501758" y="687632"/>
                </a:cubicBezTo>
                <a:cubicBezTo>
                  <a:pt x="2552664" y="670950"/>
                  <a:pt x="2589925" y="646969"/>
                  <a:pt x="2613542" y="615689"/>
                </a:cubicBezTo>
                <a:cubicBezTo>
                  <a:pt x="2637158" y="584409"/>
                  <a:pt x="2649229" y="546352"/>
                  <a:pt x="2649229" y="502039"/>
                </a:cubicBezTo>
                <a:cubicBezTo>
                  <a:pt x="2649229" y="469196"/>
                  <a:pt x="2642931" y="441044"/>
                  <a:pt x="2630336" y="417584"/>
                </a:cubicBezTo>
                <a:cubicBezTo>
                  <a:pt x="2618790" y="394646"/>
                  <a:pt x="2599372" y="375878"/>
                  <a:pt x="2573656" y="360759"/>
                </a:cubicBezTo>
                <a:close/>
                <a:moveTo>
                  <a:pt x="4264586" y="14597"/>
                </a:moveTo>
                <a:lnTo>
                  <a:pt x="4586818" y="696495"/>
                </a:lnTo>
                <a:lnTo>
                  <a:pt x="4747934" y="696495"/>
                </a:lnTo>
                <a:lnTo>
                  <a:pt x="4447220" y="14597"/>
                </a:lnTo>
                <a:lnTo>
                  <a:pt x="4264586" y="14597"/>
                </a:lnTo>
                <a:close/>
                <a:moveTo>
                  <a:pt x="5317351" y="696495"/>
                </a:moveTo>
                <a:lnTo>
                  <a:pt x="6000650" y="696495"/>
                </a:lnTo>
                <a:lnTo>
                  <a:pt x="6064152" y="562513"/>
                </a:lnTo>
                <a:lnTo>
                  <a:pt x="5482665" y="562513"/>
                </a:lnTo>
                <a:lnTo>
                  <a:pt x="5482665" y="411328"/>
                </a:lnTo>
                <a:lnTo>
                  <a:pt x="5960765" y="411328"/>
                </a:lnTo>
                <a:lnTo>
                  <a:pt x="5960765" y="301849"/>
                </a:lnTo>
                <a:lnTo>
                  <a:pt x="5482665" y="301849"/>
                </a:lnTo>
                <a:lnTo>
                  <a:pt x="5482665" y="148579"/>
                </a:lnTo>
                <a:lnTo>
                  <a:pt x="6065726" y="148579"/>
                </a:lnTo>
                <a:lnTo>
                  <a:pt x="6065726" y="14597"/>
                </a:lnTo>
                <a:lnTo>
                  <a:pt x="5317351" y="14597"/>
                </a:lnTo>
                <a:lnTo>
                  <a:pt x="5317351" y="696495"/>
                </a:lnTo>
                <a:close/>
                <a:moveTo>
                  <a:pt x="2792501" y="696495"/>
                </a:moveTo>
                <a:lnTo>
                  <a:pt x="2957815" y="696495"/>
                </a:lnTo>
                <a:lnTo>
                  <a:pt x="2957815" y="14597"/>
                </a:lnTo>
                <a:lnTo>
                  <a:pt x="2792501" y="14597"/>
                </a:lnTo>
                <a:lnTo>
                  <a:pt x="2792501" y="696495"/>
                </a:lnTo>
                <a:close/>
                <a:moveTo>
                  <a:pt x="4747934" y="696495"/>
                </a:moveTo>
                <a:lnTo>
                  <a:pt x="4909050" y="696495"/>
                </a:lnTo>
                <a:lnTo>
                  <a:pt x="5231807" y="14597"/>
                </a:lnTo>
                <a:lnTo>
                  <a:pt x="5049699" y="14597"/>
                </a:lnTo>
                <a:lnTo>
                  <a:pt x="4747934" y="696495"/>
                </a:lnTo>
                <a:close/>
                <a:moveTo>
                  <a:pt x="3079571" y="148579"/>
                </a:moveTo>
                <a:lnTo>
                  <a:pt x="3396555" y="148579"/>
                </a:lnTo>
                <a:lnTo>
                  <a:pt x="3396555" y="696495"/>
                </a:lnTo>
                <a:lnTo>
                  <a:pt x="3561869" y="696495"/>
                </a:lnTo>
                <a:lnTo>
                  <a:pt x="3561869" y="148579"/>
                </a:lnTo>
                <a:lnTo>
                  <a:pt x="3878853" y="148579"/>
                </a:lnTo>
                <a:lnTo>
                  <a:pt x="3878853" y="14597"/>
                </a:lnTo>
                <a:lnTo>
                  <a:pt x="3079571" y="14597"/>
                </a:lnTo>
                <a:lnTo>
                  <a:pt x="3079571" y="148579"/>
                </a:lnTo>
                <a:close/>
                <a:moveTo>
                  <a:pt x="4001658" y="696495"/>
                </a:moveTo>
                <a:lnTo>
                  <a:pt x="4166972" y="696495"/>
                </a:lnTo>
                <a:lnTo>
                  <a:pt x="4166972" y="14597"/>
                </a:lnTo>
                <a:lnTo>
                  <a:pt x="4001658" y="14597"/>
                </a:lnTo>
                <a:lnTo>
                  <a:pt x="4001658" y="696495"/>
                </a:lnTo>
                <a:close/>
              </a:path>
            </a:pathLst>
          </a:custGeom>
          <a:solidFill>
            <a:srgbClr val="1926BA"/>
          </a:solidFill>
          <a:ln w="5248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967733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court (flamingo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5F731B6-E27A-E96D-BDBA-A2A194EEF4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98048" y="1923521"/>
            <a:ext cx="7648983" cy="1325563"/>
          </a:xfrm>
        </p:spPr>
        <p:txBody>
          <a:bodyPr/>
          <a:lstStyle/>
          <a:p>
            <a:r>
              <a:rPr lang="fr-FR" dirty="0"/>
              <a:t>Titre de la diapositive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1DC6BED-A945-644B-73B4-4EBEDC9F800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Nom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C821AAE-B262-3441-2744-FA0ED8B4BB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39866C2-A242-5F42-9BF9-B1A825A27D5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9D511F86-4520-F50F-6471-543FAAFB975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98048" y="3303970"/>
            <a:ext cx="7642800" cy="2020430"/>
          </a:xfrm>
        </p:spPr>
        <p:txBody>
          <a:bodyPr/>
          <a:lstStyle/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 (Puce niveau 1)</a:t>
            </a:r>
          </a:p>
          <a:p>
            <a:pPr lvl="4"/>
            <a:r>
              <a:rPr lang="fr-FR" dirty="0"/>
              <a:t>Texte de niveau 5 (Puce niveau 2)</a:t>
            </a:r>
          </a:p>
          <a:p>
            <a:pPr lvl="5"/>
            <a:r>
              <a:rPr lang="fr-FR" dirty="0"/>
              <a:t>Texte de niveau 6 (Puce niveau 3)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54DAD5EB-AC9F-6B9C-E9F9-776034E8CF4E}"/>
              </a:ext>
            </a:extLst>
          </p:cNvPr>
          <p:cNvCxnSpPr>
            <a:cxnSpLocks/>
          </p:cNvCxnSpPr>
          <p:nvPr userDrawn="1"/>
        </p:nvCxnSpPr>
        <p:spPr>
          <a:xfrm>
            <a:off x="11558257" y="5934075"/>
            <a:ext cx="0" cy="29164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que 10">
            <a:extLst>
              <a:ext uri="{FF2B5EF4-FFF2-40B4-BE49-F238E27FC236}">
                <a16:creationId xmlns:a16="http://schemas.microsoft.com/office/drawing/2014/main" id="{16BA8374-3698-BC77-BFB9-F10EE55D24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05514" y="377563"/>
            <a:ext cx="505486" cy="221704"/>
          </a:xfrm>
          <a:prstGeom prst="rect">
            <a:avLst/>
          </a:prstGeom>
        </p:spPr>
      </p:pic>
      <p:sp>
        <p:nvSpPr>
          <p:cNvPr id="13" name="Forme libre 12">
            <a:extLst>
              <a:ext uri="{FF2B5EF4-FFF2-40B4-BE49-F238E27FC236}">
                <a16:creationId xmlns:a16="http://schemas.microsoft.com/office/drawing/2014/main" id="{85E5FC65-622F-47F7-06F0-1E60E5FA2703}"/>
              </a:ext>
            </a:extLst>
          </p:cNvPr>
          <p:cNvSpPr/>
          <p:nvPr userDrawn="1"/>
        </p:nvSpPr>
        <p:spPr>
          <a:xfrm>
            <a:off x="0" y="1"/>
            <a:ext cx="1335182" cy="5993709"/>
          </a:xfrm>
          <a:custGeom>
            <a:avLst/>
            <a:gdLst>
              <a:gd name="connsiteX0" fmla="*/ 0 w 1335182"/>
              <a:gd name="connsiteY0" fmla="*/ 4679140 h 5993709"/>
              <a:gd name="connsiteX1" fmla="*/ 1335182 w 1335182"/>
              <a:gd name="connsiteY1" fmla="*/ 4679140 h 5993709"/>
              <a:gd name="connsiteX2" fmla="*/ 1335182 w 1335182"/>
              <a:gd name="connsiteY2" fmla="*/ 5993709 h 5993709"/>
              <a:gd name="connsiteX3" fmla="*/ 0 w 1335182"/>
              <a:gd name="connsiteY3" fmla="*/ 5993709 h 5993709"/>
              <a:gd name="connsiteX4" fmla="*/ 0 w 1335182"/>
              <a:gd name="connsiteY4" fmla="*/ 0 h 5993709"/>
              <a:gd name="connsiteX5" fmla="*/ 227721 w 1335182"/>
              <a:gd name="connsiteY5" fmla="*/ 0 h 5993709"/>
              <a:gd name="connsiteX6" fmla="*/ 1328407 w 1335182"/>
              <a:gd name="connsiteY6" fmla="*/ 518221 h 5993709"/>
              <a:gd name="connsiteX7" fmla="*/ 1335182 w 1335182"/>
              <a:gd name="connsiteY7" fmla="*/ 520483 h 5993709"/>
              <a:gd name="connsiteX8" fmla="*/ 1335182 w 1335182"/>
              <a:gd name="connsiteY8" fmla="*/ 3308006 h 5993709"/>
              <a:gd name="connsiteX9" fmla="*/ 1328407 w 1335182"/>
              <a:gd name="connsiteY9" fmla="*/ 3312529 h 5993709"/>
              <a:gd name="connsiteX10" fmla="*/ 0 w 1335182"/>
              <a:gd name="connsiteY10" fmla="*/ 3937510 h 5993709"/>
              <a:gd name="connsiteX11" fmla="*/ 0 w 1335182"/>
              <a:gd name="connsiteY11" fmla="*/ 2536698 h 5993709"/>
              <a:gd name="connsiteX12" fmla="*/ 1319372 w 1335182"/>
              <a:gd name="connsiteY12" fmla="*/ 1916507 h 5993709"/>
              <a:gd name="connsiteX13" fmla="*/ 1326147 w 1335182"/>
              <a:gd name="connsiteY13" fmla="*/ 1914243 h 5993709"/>
              <a:gd name="connsiteX14" fmla="*/ 1319372 w 1335182"/>
              <a:gd name="connsiteY14" fmla="*/ 1911982 h 5993709"/>
              <a:gd name="connsiteX15" fmla="*/ 0 w 1335182"/>
              <a:gd name="connsiteY15" fmla="*/ 1290800 h 5993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35182" h="5993709">
                <a:moveTo>
                  <a:pt x="0" y="4679140"/>
                </a:moveTo>
                <a:lnTo>
                  <a:pt x="1335182" y="4679140"/>
                </a:lnTo>
                <a:lnTo>
                  <a:pt x="1335182" y="5993709"/>
                </a:lnTo>
                <a:lnTo>
                  <a:pt x="0" y="5993709"/>
                </a:lnTo>
                <a:close/>
                <a:moveTo>
                  <a:pt x="0" y="0"/>
                </a:moveTo>
                <a:lnTo>
                  <a:pt x="227721" y="0"/>
                </a:lnTo>
                <a:lnTo>
                  <a:pt x="1328407" y="518221"/>
                </a:lnTo>
                <a:lnTo>
                  <a:pt x="1335182" y="520483"/>
                </a:lnTo>
                <a:lnTo>
                  <a:pt x="1335182" y="3308006"/>
                </a:lnTo>
                <a:lnTo>
                  <a:pt x="1328407" y="3312529"/>
                </a:lnTo>
                <a:lnTo>
                  <a:pt x="0" y="3937510"/>
                </a:lnTo>
                <a:lnTo>
                  <a:pt x="0" y="2536698"/>
                </a:lnTo>
                <a:lnTo>
                  <a:pt x="1319372" y="1916507"/>
                </a:lnTo>
                <a:lnTo>
                  <a:pt x="1326147" y="1914243"/>
                </a:lnTo>
                <a:lnTo>
                  <a:pt x="1319372" y="1911982"/>
                </a:lnTo>
                <a:lnTo>
                  <a:pt x="0" y="12908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69760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court (lapis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5F731B6-E27A-E96D-BDBA-A2A194EEF4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98048" y="1923521"/>
            <a:ext cx="7648983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 de la diapositive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1DC6BED-A945-644B-73B4-4EBEDC9F800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Nom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C821AAE-B262-3441-2744-FA0ED8B4BB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39866C2-A242-5F42-9BF9-B1A825A27D5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9D511F86-4520-F50F-6471-543FAAFB975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98048" y="3303970"/>
            <a:ext cx="7642800" cy="2020430"/>
          </a:xfrm>
        </p:spPr>
        <p:txBody>
          <a:bodyPr/>
          <a:lstStyle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</a:lstStyle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 (Puce niveau 1)</a:t>
            </a:r>
          </a:p>
          <a:p>
            <a:pPr lvl="4"/>
            <a:r>
              <a:rPr lang="fr-FR" dirty="0"/>
              <a:t>Texte de niveau 5 (Puce niveau 2)</a:t>
            </a:r>
          </a:p>
          <a:p>
            <a:pPr lvl="5"/>
            <a:r>
              <a:rPr lang="fr-FR" dirty="0"/>
              <a:t>Texte de niveau 6 (Puce niveau 3)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54DAD5EB-AC9F-6B9C-E9F9-776034E8CF4E}"/>
              </a:ext>
            </a:extLst>
          </p:cNvPr>
          <p:cNvCxnSpPr>
            <a:cxnSpLocks/>
          </p:cNvCxnSpPr>
          <p:nvPr userDrawn="1"/>
        </p:nvCxnSpPr>
        <p:spPr>
          <a:xfrm>
            <a:off x="11558257" y="5934075"/>
            <a:ext cx="0" cy="291642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rme libre 12">
            <a:extLst>
              <a:ext uri="{FF2B5EF4-FFF2-40B4-BE49-F238E27FC236}">
                <a16:creationId xmlns:a16="http://schemas.microsoft.com/office/drawing/2014/main" id="{85E5FC65-622F-47F7-06F0-1E60E5FA2703}"/>
              </a:ext>
            </a:extLst>
          </p:cNvPr>
          <p:cNvSpPr/>
          <p:nvPr userDrawn="1"/>
        </p:nvSpPr>
        <p:spPr>
          <a:xfrm>
            <a:off x="0" y="1"/>
            <a:ext cx="1335182" cy="5993709"/>
          </a:xfrm>
          <a:custGeom>
            <a:avLst/>
            <a:gdLst>
              <a:gd name="connsiteX0" fmla="*/ 0 w 1335182"/>
              <a:gd name="connsiteY0" fmla="*/ 4679140 h 5993709"/>
              <a:gd name="connsiteX1" fmla="*/ 1335182 w 1335182"/>
              <a:gd name="connsiteY1" fmla="*/ 4679140 h 5993709"/>
              <a:gd name="connsiteX2" fmla="*/ 1335182 w 1335182"/>
              <a:gd name="connsiteY2" fmla="*/ 5993709 h 5993709"/>
              <a:gd name="connsiteX3" fmla="*/ 0 w 1335182"/>
              <a:gd name="connsiteY3" fmla="*/ 5993709 h 5993709"/>
              <a:gd name="connsiteX4" fmla="*/ 0 w 1335182"/>
              <a:gd name="connsiteY4" fmla="*/ 0 h 5993709"/>
              <a:gd name="connsiteX5" fmla="*/ 227721 w 1335182"/>
              <a:gd name="connsiteY5" fmla="*/ 0 h 5993709"/>
              <a:gd name="connsiteX6" fmla="*/ 1328407 w 1335182"/>
              <a:gd name="connsiteY6" fmla="*/ 518221 h 5993709"/>
              <a:gd name="connsiteX7" fmla="*/ 1335182 w 1335182"/>
              <a:gd name="connsiteY7" fmla="*/ 520483 h 5993709"/>
              <a:gd name="connsiteX8" fmla="*/ 1335182 w 1335182"/>
              <a:gd name="connsiteY8" fmla="*/ 3308006 h 5993709"/>
              <a:gd name="connsiteX9" fmla="*/ 1328407 w 1335182"/>
              <a:gd name="connsiteY9" fmla="*/ 3312529 h 5993709"/>
              <a:gd name="connsiteX10" fmla="*/ 0 w 1335182"/>
              <a:gd name="connsiteY10" fmla="*/ 3937510 h 5993709"/>
              <a:gd name="connsiteX11" fmla="*/ 0 w 1335182"/>
              <a:gd name="connsiteY11" fmla="*/ 2536698 h 5993709"/>
              <a:gd name="connsiteX12" fmla="*/ 1319372 w 1335182"/>
              <a:gd name="connsiteY12" fmla="*/ 1916507 h 5993709"/>
              <a:gd name="connsiteX13" fmla="*/ 1326147 w 1335182"/>
              <a:gd name="connsiteY13" fmla="*/ 1914243 h 5993709"/>
              <a:gd name="connsiteX14" fmla="*/ 1319372 w 1335182"/>
              <a:gd name="connsiteY14" fmla="*/ 1911982 h 5993709"/>
              <a:gd name="connsiteX15" fmla="*/ 0 w 1335182"/>
              <a:gd name="connsiteY15" fmla="*/ 1290800 h 5993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35182" h="5993709">
                <a:moveTo>
                  <a:pt x="0" y="4679140"/>
                </a:moveTo>
                <a:lnTo>
                  <a:pt x="1335182" y="4679140"/>
                </a:lnTo>
                <a:lnTo>
                  <a:pt x="1335182" y="5993709"/>
                </a:lnTo>
                <a:lnTo>
                  <a:pt x="0" y="5993709"/>
                </a:lnTo>
                <a:close/>
                <a:moveTo>
                  <a:pt x="0" y="0"/>
                </a:moveTo>
                <a:lnTo>
                  <a:pt x="227721" y="0"/>
                </a:lnTo>
                <a:lnTo>
                  <a:pt x="1328407" y="518221"/>
                </a:lnTo>
                <a:lnTo>
                  <a:pt x="1335182" y="520483"/>
                </a:lnTo>
                <a:lnTo>
                  <a:pt x="1335182" y="3308006"/>
                </a:lnTo>
                <a:lnTo>
                  <a:pt x="1328407" y="3312529"/>
                </a:lnTo>
                <a:lnTo>
                  <a:pt x="0" y="3937510"/>
                </a:lnTo>
                <a:lnTo>
                  <a:pt x="0" y="2536698"/>
                </a:lnTo>
                <a:lnTo>
                  <a:pt x="1319372" y="1916507"/>
                </a:lnTo>
                <a:lnTo>
                  <a:pt x="1326147" y="1914243"/>
                </a:lnTo>
                <a:lnTo>
                  <a:pt x="1319372" y="1911982"/>
                </a:lnTo>
                <a:lnTo>
                  <a:pt x="0" y="12908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pic>
        <p:nvPicPr>
          <p:cNvPr id="5" name="Graphique 4">
            <a:extLst>
              <a:ext uri="{FF2B5EF4-FFF2-40B4-BE49-F238E27FC236}">
                <a16:creationId xmlns:a16="http://schemas.microsoft.com/office/drawing/2014/main" id="{33523214-A1E5-A859-6F3D-00CF0B2120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07001" y="377563"/>
            <a:ext cx="503999" cy="221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38456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(blan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5F731B6-E27A-E96D-BDBA-A2A194EEF4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Titre de la diapositive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1DC6BED-A945-644B-73B4-4EBEDC9F800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Nom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C821AAE-B262-3441-2744-FA0ED8B4BB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39866C2-A242-5F42-9BF9-B1A825A27D5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9D511F86-4520-F50F-6471-543FAAFB975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10400" y="1897200"/>
            <a:ext cx="7642800" cy="3427200"/>
          </a:xfrm>
        </p:spPr>
        <p:txBody>
          <a:bodyPr/>
          <a:lstStyle/>
          <a:p>
            <a:pPr lvl="0"/>
            <a:r>
              <a:rPr lang="fr-FR" dirty="0"/>
              <a:t>Texte de 1er niveau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 (Puce niveau 1)</a:t>
            </a:r>
          </a:p>
          <a:p>
            <a:pPr lvl="4"/>
            <a:r>
              <a:rPr lang="fr-FR" dirty="0"/>
              <a:t>Texte de niveau 5 (Puce niveau 2)</a:t>
            </a:r>
          </a:p>
          <a:p>
            <a:pPr lvl="5"/>
            <a:r>
              <a:rPr lang="fr-FR" dirty="0"/>
              <a:t>Texte de niveau 6 (Puce niveau 3)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54DAD5EB-AC9F-6B9C-E9F9-776034E8CF4E}"/>
              </a:ext>
            </a:extLst>
          </p:cNvPr>
          <p:cNvCxnSpPr>
            <a:cxnSpLocks/>
          </p:cNvCxnSpPr>
          <p:nvPr userDrawn="1"/>
        </p:nvCxnSpPr>
        <p:spPr>
          <a:xfrm>
            <a:off x="11558257" y="5934075"/>
            <a:ext cx="0" cy="29164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que 10">
            <a:extLst>
              <a:ext uri="{FF2B5EF4-FFF2-40B4-BE49-F238E27FC236}">
                <a16:creationId xmlns:a16="http://schemas.microsoft.com/office/drawing/2014/main" id="{16BA8374-3698-BC77-BFB9-F10EE55D24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05514" y="377563"/>
            <a:ext cx="505486" cy="221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76953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(flamingo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5F731B6-E27A-E96D-BDBA-A2A194EEF4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Titre de la diapositive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1DC6BED-A945-644B-73B4-4EBEDC9F800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Nom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C821AAE-B262-3441-2744-FA0ED8B4BB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39866C2-A242-5F42-9BF9-B1A825A27D5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9D511F86-4520-F50F-6471-543FAAFB975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10400" y="1897200"/>
            <a:ext cx="7642800" cy="3427200"/>
          </a:xfrm>
        </p:spPr>
        <p:txBody>
          <a:bodyPr/>
          <a:lstStyle/>
          <a:p>
            <a:pPr lvl="0"/>
            <a:r>
              <a:rPr lang="fr-FR" dirty="0"/>
              <a:t>Texte de 1er niveau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 (Puce niveau 1)</a:t>
            </a:r>
          </a:p>
          <a:p>
            <a:pPr lvl="4"/>
            <a:r>
              <a:rPr lang="fr-FR" dirty="0"/>
              <a:t>Texte de niveau 5 (Puce niveau 2)</a:t>
            </a:r>
          </a:p>
          <a:p>
            <a:pPr lvl="5"/>
            <a:r>
              <a:rPr lang="fr-FR" dirty="0"/>
              <a:t>Texte de niveau 6 (Puce niveau 3)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54DAD5EB-AC9F-6B9C-E9F9-776034E8CF4E}"/>
              </a:ext>
            </a:extLst>
          </p:cNvPr>
          <p:cNvCxnSpPr>
            <a:cxnSpLocks/>
          </p:cNvCxnSpPr>
          <p:nvPr userDrawn="1"/>
        </p:nvCxnSpPr>
        <p:spPr>
          <a:xfrm>
            <a:off x="11558257" y="5934075"/>
            <a:ext cx="0" cy="29164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que 10">
            <a:extLst>
              <a:ext uri="{FF2B5EF4-FFF2-40B4-BE49-F238E27FC236}">
                <a16:creationId xmlns:a16="http://schemas.microsoft.com/office/drawing/2014/main" id="{16BA8374-3698-BC77-BFB9-F10EE55D24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05514" y="377563"/>
            <a:ext cx="505486" cy="221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09765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(lapis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5F731B6-E27A-E96D-BDBA-A2A194EEF4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 de la diapositive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1DC6BED-A945-644B-73B4-4EBEDC9F800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Nom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C821AAE-B262-3441-2744-FA0ED8B4BB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39866C2-A242-5F42-9BF9-B1A825A27D5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9D511F86-4520-F50F-6471-543FAAFB975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10400" y="1897200"/>
            <a:ext cx="7642800" cy="34272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fr-FR" dirty="0"/>
              <a:t>Texte de 1er niveau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 (Puce niveau 1)</a:t>
            </a:r>
          </a:p>
          <a:p>
            <a:pPr lvl="4"/>
            <a:r>
              <a:rPr lang="fr-FR" dirty="0"/>
              <a:t>Texte de niveau 5 (Puce niveau 2)</a:t>
            </a:r>
          </a:p>
          <a:p>
            <a:pPr lvl="5"/>
            <a:r>
              <a:rPr lang="fr-FR" dirty="0"/>
              <a:t>Texte de niveau 6 (Puce niveau 3)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54DAD5EB-AC9F-6B9C-E9F9-776034E8CF4E}"/>
              </a:ext>
            </a:extLst>
          </p:cNvPr>
          <p:cNvCxnSpPr>
            <a:cxnSpLocks/>
          </p:cNvCxnSpPr>
          <p:nvPr userDrawn="1"/>
        </p:nvCxnSpPr>
        <p:spPr>
          <a:xfrm>
            <a:off x="11558257" y="5934075"/>
            <a:ext cx="0" cy="291642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phique 4">
            <a:extLst>
              <a:ext uri="{FF2B5EF4-FFF2-40B4-BE49-F238E27FC236}">
                <a16:creationId xmlns:a16="http://schemas.microsoft.com/office/drawing/2014/main" id="{BBF9B5E8-BE22-8D13-C82B-8887D76DE4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07001" y="377563"/>
            <a:ext cx="503999" cy="221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6440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image (blanc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EB4FD366-55CB-8975-CE8E-AA433CD8D363}"/>
              </a:ext>
            </a:extLst>
          </p:cNvPr>
          <p:cNvSpPr/>
          <p:nvPr userDrawn="1"/>
        </p:nvSpPr>
        <p:spPr>
          <a:xfrm>
            <a:off x="0" y="-1"/>
            <a:ext cx="308113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C821AAE-B262-3441-2744-FA0ED8B4BB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39866C2-A242-5F42-9BF9-B1A825A27D5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9D511F86-4520-F50F-6471-543FAAFB975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1353861"/>
            <a:ext cx="4797287" cy="4516852"/>
          </a:xfrm>
        </p:spPr>
        <p:txBody>
          <a:bodyPr/>
          <a:lstStyle/>
          <a:p>
            <a:pPr lvl="0"/>
            <a:r>
              <a:rPr lang="fr-FR" dirty="0"/>
              <a:t>Texte de 1er niveau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 (Puce niveau 1)</a:t>
            </a:r>
          </a:p>
          <a:p>
            <a:pPr lvl="4"/>
            <a:r>
              <a:rPr lang="fr-FR" dirty="0"/>
              <a:t>Texte de niveau 5 (Puce niveau 2)</a:t>
            </a:r>
          </a:p>
          <a:p>
            <a:pPr lvl="5"/>
            <a:r>
              <a:rPr lang="fr-FR" dirty="0"/>
              <a:t>Texte de niveau 6 (Puce niveau 3)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54DAD5EB-AC9F-6B9C-E9F9-776034E8CF4E}"/>
              </a:ext>
            </a:extLst>
          </p:cNvPr>
          <p:cNvCxnSpPr>
            <a:cxnSpLocks/>
          </p:cNvCxnSpPr>
          <p:nvPr userDrawn="1"/>
        </p:nvCxnSpPr>
        <p:spPr>
          <a:xfrm>
            <a:off x="11558257" y="5934075"/>
            <a:ext cx="0" cy="29164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que 10">
            <a:extLst>
              <a:ext uri="{FF2B5EF4-FFF2-40B4-BE49-F238E27FC236}">
                <a16:creationId xmlns:a16="http://schemas.microsoft.com/office/drawing/2014/main" id="{16BA8374-3698-BC77-BFB9-F10EE55D24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05514" y="377563"/>
            <a:ext cx="505486" cy="221704"/>
          </a:xfrm>
          <a:prstGeom prst="rect">
            <a:avLst/>
          </a:prstGeom>
        </p:spPr>
      </p:pic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1C40FE17-FA83-9AA9-E493-72B90D3ABC5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2" y="0"/>
            <a:ext cx="5148000" cy="6858000"/>
          </a:xfrm>
          <a:custGeom>
            <a:avLst/>
            <a:gdLst>
              <a:gd name="connsiteX0" fmla="*/ 0 w 5148000"/>
              <a:gd name="connsiteY0" fmla="*/ 2178591 h 6858000"/>
              <a:gd name="connsiteX1" fmla="*/ 1323660 w 5148000"/>
              <a:gd name="connsiteY1" fmla="*/ 2801790 h 6858000"/>
              <a:gd name="connsiteX2" fmla="*/ 1330390 w 5148000"/>
              <a:gd name="connsiteY2" fmla="*/ 2804042 h 6858000"/>
              <a:gd name="connsiteX3" fmla="*/ 1323660 w 5148000"/>
              <a:gd name="connsiteY3" fmla="*/ 2806295 h 6858000"/>
              <a:gd name="connsiteX4" fmla="*/ 0 w 5148000"/>
              <a:gd name="connsiteY4" fmla="*/ 3428504 h 6858000"/>
              <a:gd name="connsiteX5" fmla="*/ 0 w 5148000"/>
              <a:gd name="connsiteY5" fmla="*/ 0 h 6858000"/>
              <a:gd name="connsiteX6" fmla="*/ 5148000 w 5148000"/>
              <a:gd name="connsiteY6" fmla="*/ 0 h 6858000"/>
              <a:gd name="connsiteX7" fmla="*/ 5148000 w 5148000"/>
              <a:gd name="connsiteY7" fmla="*/ 6858000 h 6858000"/>
              <a:gd name="connsiteX8" fmla="*/ 1339372 w 5148000"/>
              <a:gd name="connsiteY8" fmla="*/ 6858000 h 6858000"/>
              <a:gd name="connsiteX9" fmla="*/ 1339372 w 5148000"/>
              <a:gd name="connsiteY9" fmla="*/ 5551875 h 6858000"/>
              <a:gd name="connsiteX10" fmla="*/ 0 w 5148000"/>
              <a:gd name="connsiteY10" fmla="*/ 5551875 h 6858000"/>
              <a:gd name="connsiteX11" fmla="*/ 0 w 5148000"/>
              <a:gd name="connsiteY11" fmla="*/ 4820672 h 6858000"/>
              <a:gd name="connsiteX12" fmla="*/ 1332642 w 5148000"/>
              <a:gd name="connsiteY12" fmla="*/ 4193697 h 6858000"/>
              <a:gd name="connsiteX13" fmla="*/ 1339372 w 5148000"/>
              <a:gd name="connsiteY13" fmla="*/ 4189206 h 6858000"/>
              <a:gd name="connsiteX14" fmla="*/ 1339372 w 5148000"/>
              <a:gd name="connsiteY14" fmla="*/ 1418892 h 6858000"/>
              <a:gd name="connsiteX15" fmla="*/ 1332642 w 5148000"/>
              <a:gd name="connsiteY15" fmla="*/ 1416640 h 6858000"/>
              <a:gd name="connsiteX16" fmla="*/ 0 w 5148000"/>
              <a:gd name="connsiteY16" fmla="*/ 78920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148000" h="6858000">
                <a:moveTo>
                  <a:pt x="0" y="2178591"/>
                </a:moveTo>
                <a:lnTo>
                  <a:pt x="1323660" y="2801790"/>
                </a:lnTo>
                <a:lnTo>
                  <a:pt x="1330390" y="2804042"/>
                </a:lnTo>
                <a:lnTo>
                  <a:pt x="1323660" y="2806295"/>
                </a:lnTo>
                <a:lnTo>
                  <a:pt x="0" y="3428504"/>
                </a:lnTo>
                <a:close/>
                <a:moveTo>
                  <a:pt x="0" y="0"/>
                </a:moveTo>
                <a:lnTo>
                  <a:pt x="5148000" y="0"/>
                </a:lnTo>
                <a:lnTo>
                  <a:pt x="5148000" y="6858000"/>
                </a:lnTo>
                <a:lnTo>
                  <a:pt x="1339372" y="6858000"/>
                </a:lnTo>
                <a:lnTo>
                  <a:pt x="1339372" y="5551875"/>
                </a:lnTo>
                <a:lnTo>
                  <a:pt x="0" y="5551875"/>
                </a:lnTo>
                <a:lnTo>
                  <a:pt x="0" y="4820672"/>
                </a:lnTo>
                <a:lnTo>
                  <a:pt x="1332642" y="4193697"/>
                </a:lnTo>
                <a:lnTo>
                  <a:pt x="1339372" y="4189206"/>
                </a:lnTo>
                <a:lnTo>
                  <a:pt x="1339372" y="1418892"/>
                </a:lnTo>
                <a:lnTo>
                  <a:pt x="1332642" y="1416640"/>
                </a:lnTo>
                <a:lnTo>
                  <a:pt x="0" y="789209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444558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image (lapis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EB4FD366-55CB-8975-CE8E-AA433CD8D363}"/>
              </a:ext>
            </a:extLst>
          </p:cNvPr>
          <p:cNvSpPr/>
          <p:nvPr userDrawn="1"/>
        </p:nvSpPr>
        <p:spPr>
          <a:xfrm>
            <a:off x="0" y="-1"/>
            <a:ext cx="308113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C821AAE-B262-3441-2744-FA0ED8B4BB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39866C2-A242-5F42-9BF9-B1A825A27D5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9D511F86-4520-F50F-6471-543FAAFB975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1353861"/>
            <a:ext cx="4797287" cy="4516852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fr-FR" dirty="0"/>
              <a:t>Texte de 1er niveau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 (Puce niveau 1)</a:t>
            </a:r>
          </a:p>
          <a:p>
            <a:pPr lvl="4"/>
            <a:r>
              <a:rPr lang="fr-FR" dirty="0"/>
              <a:t>Texte de niveau 5 (Puce niveau 2)</a:t>
            </a:r>
          </a:p>
          <a:p>
            <a:pPr lvl="5"/>
            <a:r>
              <a:rPr lang="fr-FR" dirty="0"/>
              <a:t>Texte de niveau 6 (Puce niveau 3)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54DAD5EB-AC9F-6B9C-E9F9-776034E8CF4E}"/>
              </a:ext>
            </a:extLst>
          </p:cNvPr>
          <p:cNvCxnSpPr>
            <a:cxnSpLocks/>
          </p:cNvCxnSpPr>
          <p:nvPr userDrawn="1"/>
        </p:nvCxnSpPr>
        <p:spPr>
          <a:xfrm>
            <a:off x="11558257" y="5934075"/>
            <a:ext cx="0" cy="291642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1C40FE17-FA83-9AA9-E493-72B90D3ABC5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2" y="0"/>
            <a:ext cx="5148000" cy="6858000"/>
          </a:xfrm>
          <a:custGeom>
            <a:avLst/>
            <a:gdLst>
              <a:gd name="connsiteX0" fmla="*/ 0 w 5148000"/>
              <a:gd name="connsiteY0" fmla="*/ 2178591 h 6858000"/>
              <a:gd name="connsiteX1" fmla="*/ 1323660 w 5148000"/>
              <a:gd name="connsiteY1" fmla="*/ 2801790 h 6858000"/>
              <a:gd name="connsiteX2" fmla="*/ 1330390 w 5148000"/>
              <a:gd name="connsiteY2" fmla="*/ 2804042 h 6858000"/>
              <a:gd name="connsiteX3" fmla="*/ 1323660 w 5148000"/>
              <a:gd name="connsiteY3" fmla="*/ 2806295 h 6858000"/>
              <a:gd name="connsiteX4" fmla="*/ 0 w 5148000"/>
              <a:gd name="connsiteY4" fmla="*/ 3428504 h 6858000"/>
              <a:gd name="connsiteX5" fmla="*/ 0 w 5148000"/>
              <a:gd name="connsiteY5" fmla="*/ 0 h 6858000"/>
              <a:gd name="connsiteX6" fmla="*/ 5148000 w 5148000"/>
              <a:gd name="connsiteY6" fmla="*/ 0 h 6858000"/>
              <a:gd name="connsiteX7" fmla="*/ 5148000 w 5148000"/>
              <a:gd name="connsiteY7" fmla="*/ 6858000 h 6858000"/>
              <a:gd name="connsiteX8" fmla="*/ 1339372 w 5148000"/>
              <a:gd name="connsiteY8" fmla="*/ 6858000 h 6858000"/>
              <a:gd name="connsiteX9" fmla="*/ 1339372 w 5148000"/>
              <a:gd name="connsiteY9" fmla="*/ 5551875 h 6858000"/>
              <a:gd name="connsiteX10" fmla="*/ 0 w 5148000"/>
              <a:gd name="connsiteY10" fmla="*/ 5551875 h 6858000"/>
              <a:gd name="connsiteX11" fmla="*/ 0 w 5148000"/>
              <a:gd name="connsiteY11" fmla="*/ 4820672 h 6858000"/>
              <a:gd name="connsiteX12" fmla="*/ 1332642 w 5148000"/>
              <a:gd name="connsiteY12" fmla="*/ 4193697 h 6858000"/>
              <a:gd name="connsiteX13" fmla="*/ 1339372 w 5148000"/>
              <a:gd name="connsiteY13" fmla="*/ 4189206 h 6858000"/>
              <a:gd name="connsiteX14" fmla="*/ 1339372 w 5148000"/>
              <a:gd name="connsiteY14" fmla="*/ 1418892 h 6858000"/>
              <a:gd name="connsiteX15" fmla="*/ 1332642 w 5148000"/>
              <a:gd name="connsiteY15" fmla="*/ 1416640 h 6858000"/>
              <a:gd name="connsiteX16" fmla="*/ 0 w 5148000"/>
              <a:gd name="connsiteY16" fmla="*/ 78920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148000" h="6858000">
                <a:moveTo>
                  <a:pt x="0" y="2178591"/>
                </a:moveTo>
                <a:lnTo>
                  <a:pt x="1323660" y="2801790"/>
                </a:lnTo>
                <a:lnTo>
                  <a:pt x="1330390" y="2804042"/>
                </a:lnTo>
                <a:lnTo>
                  <a:pt x="1323660" y="2806295"/>
                </a:lnTo>
                <a:lnTo>
                  <a:pt x="0" y="3428504"/>
                </a:lnTo>
                <a:close/>
                <a:moveTo>
                  <a:pt x="0" y="0"/>
                </a:moveTo>
                <a:lnTo>
                  <a:pt x="5148000" y="0"/>
                </a:lnTo>
                <a:lnTo>
                  <a:pt x="5148000" y="6858000"/>
                </a:lnTo>
                <a:lnTo>
                  <a:pt x="1339372" y="6858000"/>
                </a:lnTo>
                <a:lnTo>
                  <a:pt x="1339372" y="5551875"/>
                </a:lnTo>
                <a:lnTo>
                  <a:pt x="0" y="5551875"/>
                </a:lnTo>
                <a:lnTo>
                  <a:pt x="0" y="4820672"/>
                </a:lnTo>
                <a:lnTo>
                  <a:pt x="1332642" y="4193697"/>
                </a:lnTo>
                <a:lnTo>
                  <a:pt x="1339372" y="4189206"/>
                </a:lnTo>
                <a:lnTo>
                  <a:pt x="1339372" y="1418892"/>
                </a:lnTo>
                <a:lnTo>
                  <a:pt x="1332642" y="1416640"/>
                </a:lnTo>
                <a:lnTo>
                  <a:pt x="0" y="789209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fr-FR" dirty="0"/>
          </a:p>
        </p:txBody>
      </p:sp>
      <p:pic>
        <p:nvPicPr>
          <p:cNvPr id="2" name="Graphique 1">
            <a:extLst>
              <a:ext uri="{FF2B5EF4-FFF2-40B4-BE49-F238E27FC236}">
                <a16:creationId xmlns:a16="http://schemas.microsoft.com/office/drawing/2014/main" id="{CE3048A0-4E20-4E68-60C5-9A10671076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07001" y="377563"/>
            <a:ext cx="503999" cy="221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292773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image (flamingo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EB4FD366-55CB-8975-CE8E-AA433CD8D363}"/>
              </a:ext>
            </a:extLst>
          </p:cNvPr>
          <p:cNvSpPr/>
          <p:nvPr userDrawn="1"/>
        </p:nvSpPr>
        <p:spPr>
          <a:xfrm>
            <a:off x="0" y="-1"/>
            <a:ext cx="3081130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C821AAE-B262-3441-2744-FA0ED8B4BB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39866C2-A242-5F42-9BF9-B1A825A27D5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9D511F86-4520-F50F-6471-543FAAFB975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1353861"/>
            <a:ext cx="4797287" cy="4516852"/>
          </a:xfrm>
        </p:spPr>
        <p:txBody>
          <a:bodyPr/>
          <a:lstStyle/>
          <a:p>
            <a:pPr lvl="0"/>
            <a:r>
              <a:rPr lang="fr-FR" dirty="0"/>
              <a:t>Texte de 1er niveau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 (Puce niveau 1)</a:t>
            </a:r>
          </a:p>
          <a:p>
            <a:pPr lvl="4"/>
            <a:r>
              <a:rPr lang="fr-FR" dirty="0"/>
              <a:t>Texte de niveau 5 (Puce niveau 2)</a:t>
            </a:r>
          </a:p>
          <a:p>
            <a:pPr lvl="5"/>
            <a:r>
              <a:rPr lang="fr-FR" dirty="0"/>
              <a:t>Texte de niveau 6 (Puce niveau 3)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54DAD5EB-AC9F-6B9C-E9F9-776034E8CF4E}"/>
              </a:ext>
            </a:extLst>
          </p:cNvPr>
          <p:cNvCxnSpPr>
            <a:cxnSpLocks/>
          </p:cNvCxnSpPr>
          <p:nvPr userDrawn="1"/>
        </p:nvCxnSpPr>
        <p:spPr>
          <a:xfrm>
            <a:off x="11558257" y="5934075"/>
            <a:ext cx="0" cy="29164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que 10">
            <a:extLst>
              <a:ext uri="{FF2B5EF4-FFF2-40B4-BE49-F238E27FC236}">
                <a16:creationId xmlns:a16="http://schemas.microsoft.com/office/drawing/2014/main" id="{16BA8374-3698-BC77-BFB9-F10EE55D24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05514" y="377563"/>
            <a:ext cx="505486" cy="221704"/>
          </a:xfrm>
          <a:prstGeom prst="rect">
            <a:avLst/>
          </a:prstGeom>
        </p:spPr>
      </p:pic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1C40FE17-FA83-9AA9-E493-72B90D3ABC5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2" y="0"/>
            <a:ext cx="5148000" cy="6858000"/>
          </a:xfrm>
          <a:custGeom>
            <a:avLst/>
            <a:gdLst>
              <a:gd name="connsiteX0" fmla="*/ 0 w 5148000"/>
              <a:gd name="connsiteY0" fmla="*/ 2178591 h 6858000"/>
              <a:gd name="connsiteX1" fmla="*/ 1323660 w 5148000"/>
              <a:gd name="connsiteY1" fmla="*/ 2801790 h 6858000"/>
              <a:gd name="connsiteX2" fmla="*/ 1330390 w 5148000"/>
              <a:gd name="connsiteY2" fmla="*/ 2804042 h 6858000"/>
              <a:gd name="connsiteX3" fmla="*/ 1323660 w 5148000"/>
              <a:gd name="connsiteY3" fmla="*/ 2806295 h 6858000"/>
              <a:gd name="connsiteX4" fmla="*/ 0 w 5148000"/>
              <a:gd name="connsiteY4" fmla="*/ 3428504 h 6858000"/>
              <a:gd name="connsiteX5" fmla="*/ 0 w 5148000"/>
              <a:gd name="connsiteY5" fmla="*/ 0 h 6858000"/>
              <a:gd name="connsiteX6" fmla="*/ 5148000 w 5148000"/>
              <a:gd name="connsiteY6" fmla="*/ 0 h 6858000"/>
              <a:gd name="connsiteX7" fmla="*/ 5148000 w 5148000"/>
              <a:gd name="connsiteY7" fmla="*/ 6858000 h 6858000"/>
              <a:gd name="connsiteX8" fmla="*/ 1339372 w 5148000"/>
              <a:gd name="connsiteY8" fmla="*/ 6858000 h 6858000"/>
              <a:gd name="connsiteX9" fmla="*/ 1339372 w 5148000"/>
              <a:gd name="connsiteY9" fmla="*/ 5551875 h 6858000"/>
              <a:gd name="connsiteX10" fmla="*/ 0 w 5148000"/>
              <a:gd name="connsiteY10" fmla="*/ 5551875 h 6858000"/>
              <a:gd name="connsiteX11" fmla="*/ 0 w 5148000"/>
              <a:gd name="connsiteY11" fmla="*/ 4820672 h 6858000"/>
              <a:gd name="connsiteX12" fmla="*/ 1332642 w 5148000"/>
              <a:gd name="connsiteY12" fmla="*/ 4193697 h 6858000"/>
              <a:gd name="connsiteX13" fmla="*/ 1339372 w 5148000"/>
              <a:gd name="connsiteY13" fmla="*/ 4189206 h 6858000"/>
              <a:gd name="connsiteX14" fmla="*/ 1339372 w 5148000"/>
              <a:gd name="connsiteY14" fmla="*/ 1418892 h 6858000"/>
              <a:gd name="connsiteX15" fmla="*/ 1332642 w 5148000"/>
              <a:gd name="connsiteY15" fmla="*/ 1416640 h 6858000"/>
              <a:gd name="connsiteX16" fmla="*/ 0 w 5148000"/>
              <a:gd name="connsiteY16" fmla="*/ 78920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148000" h="6858000">
                <a:moveTo>
                  <a:pt x="0" y="2178591"/>
                </a:moveTo>
                <a:lnTo>
                  <a:pt x="1323660" y="2801790"/>
                </a:lnTo>
                <a:lnTo>
                  <a:pt x="1330390" y="2804042"/>
                </a:lnTo>
                <a:lnTo>
                  <a:pt x="1323660" y="2806295"/>
                </a:lnTo>
                <a:lnTo>
                  <a:pt x="0" y="3428504"/>
                </a:lnTo>
                <a:close/>
                <a:moveTo>
                  <a:pt x="0" y="0"/>
                </a:moveTo>
                <a:lnTo>
                  <a:pt x="5148000" y="0"/>
                </a:lnTo>
                <a:lnTo>
                  <a:pt x="5148000" y="6858000"/>
                </a:lnTo>
                <a:lnTo>
                  <a:pt x="1339372" y="6858000"/>
                </a:lnTo>
                <a:lnTo>
                  <a:pt x="1339372" y="5551875"/>
                </a:lnTo>
                <a:lnTo>
                  <a:pt x="0" y="5551875"/>
                </a:lnTo>
                <a:lnTo>
                  <a:pt x="0" y="4820672"/>
                </a:lnTo>
                <a:lnTo>
                  <a:pt x="1332642" y="4193697"/>
                </a:lnTo>
                <a:lnTo>
                  <a:pt x="1339372" y="4189206"/>
                </a:lnTo>
                <a:lnTo>
                  <a:pt x="1339372" y="1418892"/>
                </a:lnTo>
                <a:lnTo>
                  <a:pt x="1332642" y="1416640"/>
                </a:lnTo>
                <a:lnTo>
                  <a:pt x="0" y="789209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75416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1DC6BED-A945-644B-73B4-4EBEDC9F800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Nom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C821AAE-B262-3441-2744-FA0ED8B4BB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39866C2-A242-5F42-9BF9-B1A825A27D5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9D511F86-4520-F50F-6471-543FAAFB975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80034" y="1696455"/>
            <a:ext cx="5507833" cy="423761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dirty="0"/>
              <a:t>« Texte de 1er niveau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 (Puce niveau 1)</a:t>
            </a:r>
          </a:p>
          <a:p>
            <a:pPr lvl="4"/>
            <a:r>
              <a:rPr lang="fr-FR" dirty="0"/>
              <a:t>Texte de niveau 5 (Puce niveau 2)</a:t>
            </a:r>
          </a:p>
          <a:p>
            <a:pPr lvl="5"/>
            <a:r>
              <a:rPr lang="fr-FR" dirty="0"/>
              <a:t>Texte de niveau 6 (Puce niveau 3)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54DAD5EB-AC9F-6B9C-E9F9-776034E8CF4E}"/>
              </a:ext>
            </a:extLst>
          </p:cNvPr>
          <p:cNvCxnSpPr>
            <a:cxnSpLocks/>
          </p:cNvCxnSpPr>
          <p:nvPr userDrawn="1"/>
        </p:nvCxnSpPr>
        <p:spPr>
          <a:xfrm>
            <a:off x="11558257" y="5934075"/>
            <a:ext cx="0" cy="29164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que 10">
            <a:extLst>
              <a:ext uri="{FF2B5EF4-FFF2-40B4-BE49-F238E27FC236}">
                <a16:creationId xmlns:a16="http://schemas.microsoft.com/office/drawing/2014/main" id="{16BA8374-3698-BC77-BFB9-F10EE55D24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05514" y="377563"/>
            <a:ext cx="505486" cy="221704"/>
          </a:xfrm>
          <a:prstGeom prst="rect">
            <a:avLst/>
          </a:prstGeom>
        </p:spPr>
      </p:pic>
      <p:grpSp>
        <p:nvGrpSpPr>
          <p:cNvPr id="41" name="Groupe 40">
            <a:extLst>
              <a:ext uri="{FF2B5EF4-FFF2-40B4-BE49-F238E27FC236}">
                <a16:creationId xmlns:a16="http://schemas.microsoft.com/office/drawing/2014/main" id="{13906180-FD61-A764-794D-F0B70E645DFC}"/>
              </a:ext>
            </a:extLst>
          </p:cNvPr>
          <p:cNvGrpSpPr/>
          <p:nvPr userDrawn="1"/>
        </p:nvGrpSpPr>
        <p:grpSpPr>
          <a:xfrm>
            <a:off x="-946564" y="0"/>
            <a:ext cx="6193147" cy="5838706"/>
            <a:chOff x="-946034" y="-1"/>
            <a:chExt cx="6193147" cy="5838706"/>
          </a:xfrm>
        </p:grpSpPr>
        <p:grpSp>
          <p:nvGrpSpPr>
            <p:cNvPr id="20" name="Groupe 19">
              <a:extLst>
                <a:ext uri="{FF2B5EF4-FFF2-40B4-BE49-F238E27FC236}">
                  <a16:creationId xmlns:a16="http://schemas.microsoft.com/office/drawing/2014/main" id="{043F8DCB-F472-D7C6-AFE9-2F0269C57388}"/>
                </a:ext>
              </a:extLst>
            </p:cNvPr>
            <p:cNvGrpSpPr/>
            <p:nvPr userDrawn="1"/>
          </p:nvGrpSpPr>
          <p:grpSpPr>
            <a:xfrm>
              <a:off x="-343568" y="-1"/>
              <a:ext cx="5590681" cy="1299836"/>
              <a:chOff x="-343568" y="-1"/>
              <a:chExt cx="5590681" cy="1299836"/>
            </a:xfrm>
          </p:grpSpPr>
          <p:grpSp>
            <p:nvGrpSpPr>
              <p:cNvPr id="15" name="Groupe 14">
                <a:extLst>
                  <a:ext uri="{FF2B5EF4-FFF2-40B4-BE49-F238E27FC236}">
                    <a16:creationId xmlns:a16="http://schemas.microsoft.com/office/drawing/2014/main" id="{912B4AC6-D33C-8305-D758-D2DF69CD94D3}"/>
                  </a:ext>
                </a:extLst>
              </p:cNvPr>
              <p:cNvGrpSpPr/>
              <p:nvPr userDrawn="1"/>
            </p:nvGrpSpPr>
            <p:grpSpPr>
              <a:xfrm>
                <a:off x="1849427" y="-1"/>
                <a:ext cx="3397686" cy="1299836"/>
                <a:chOff x="1849427" y="-1"/>
                <a:chExt cx="3397686" cy="1299836"/>
              </a:xfrm>
            </p:grpSpPr>
            <p:sp>
              <p:nvSpPr>
                <p:cNvPr id="12" name="Graphique 7">
                  <a:extLst>
                    <a:ext uri="{FF2B5EF4-FFF2-40B4-BE49-F238E27FC236}">
                      <a16:creationId xmlns:a16="http://schemas.microsoft.com/office/drawing/2014/main" id="{381C834D-A968-D76A-DF47-4F7219F3F5AB}"/>
                    </a:ext>
                  </a:extLst>
                </p:cNvPr>
                <p:cNvSpPr/>
                <p:nvPr/>
              </p:nvSpPr>
              <p:spPr>
                <a:xfrm>
                  <a:off x="4049048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sp>
              <p:nvSpPr>
                <p:cNvPr id="13" name="Rectangle 12">
                  <a:extLst>
                    <a:ext uri="{FF2B5EF4-FFF2-40B4-BE49-F238E27FC236}">
                      <a16:creationId xmlns:a16="http://schemas.microsoft.com/office/drawing/2014/main" id="{522E9051-6A7D-CB81-EEEE-8D78525FAE38}"/>
                    </a:ext>
                  </a:extLst>
                </p:cNvPr>
                <p:cNvSpPr/>
                <p:nvPr userDrawn="1"/>
              </p:nvSpPr>
              <p:spPr>
                <a:xfrm>
                  <a:off x="3266662" y="-1"/>
                  <a:ext cx="563216" cy="129983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14" name="Graphique 7">
                  <a:extLst>
                    <a:ext uri="{FF2B5EF4-FFF2-40B4-BE49-F238E27FC236}">
                      <a16:creationId xmlns:a16="http://schemas.microsoft.com/office/drawing/2014/main" id="{09D4C3DD-CD2A-BB5F-76E9-0FCD787E8FBB}"/>
                    </a:ext>
                  </a:extLst>
                </p:cNvPr>
                <p:cNvSpPr/>
                <p:nvPr userDrawn="1"/>
              </p:nvSpPr>
              <p:spPr>
                <a:xfrm flipH="1">
                  <a:off x="1849427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5400000" scaled="1"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</p:grpSp>
          <p:grpSp>
            <p:nvGrpSpPr>
              <p:cNvPr id="16" name="Groupe 15">
                <a:extLst>
                  <a:ext uri="{FF2B5EF4-FFF2-40B4-BE49-F238E27FC236}">
                    <a16:creationId xmlns:a16="http://schemas.microsoft.com/office/drawing/2014/main" id="{A43E9AC8-442B-582F-E7FB-C43D1160FCAB}"/>
                  </a:ext>
                </a:extLst>
              </p:cNvPr>
              <p:cNvGrpSpPr/>
              <p:nvPr userDrawn="1"/>
            </p:nvGrpSpPr>
            <p:grpSpPr>
              <a:xfrm>
                <a:off x="-343568" y="-1"/>
                <a:ext cx="1980451" cy="1299836"/>
                <a:chOff x="3266662" y="-1"/>
                <a:chExt cx="1980451" cy="1299836"/>
              </a:xfrm>
            </p:grpSpPr>
            <p:sp>
              <p:nvSpPr>
                <p:cNvPr id="17" name="Graphique 7">
                  <a:extLst>
                    <a:ext uri="{FF2B5EF4-FFF2-40B4-BE49-F238E27FC236}">
                      <a16:creationId xmlns:a16="http://schemas.microsoft.com/office/drawing/2014/main" id="{DD93D100-B02C-6EFE-5203-5DD0D77B4FF2}"/>
                    </a:ext>
                  </a:extLst>
                </p:cNvPr>
                <p:cNvSpPr/>
                <p:nvPr/>
              </p:nvSpPr>
              <p:spPr>
                <a:xfrm>
                  <a:off x="4049048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sp>
              <p:nvSpPr>
                <p:cNvPr id="18" name="Rectangle 17">
                  <a:extLst>
                    <a:ext uri="{FF2B5EF4-FFF2-40B4-BE49-F238E27FC236}">
                      <a16:creationId xmlns:a16="http://schemas.microsoft.com/office/drawing/2014/main" id="{30EAEA65-1F49-530F-0D32-2ABE849D6164}"/>
                    </a:ext>
                  </a:extLst>
                </p:cNvPr>
                <p:cNvSpPr/>
                <p:nvPr userDrawn="1"/>
              </p:nvSpPr>
              <p:spPr>
                <a:xfrm>
                  <a:off x="3266662" y="-1"/>
                  <a:ext cx="563216" cy="129983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</p:grpSp>
        </p:grpSp>
        <p:grpSp>
          <p:nvGrpSpPr>
            <p:cNvPr id="21" name="Groupe 20">
              <a:extLst>
                <a:ext uri="{FF2B5EF4-FFF2-40B4-BE49-F238E27FC236}">
                  <a16:creationId xmlns:a16="http://schemas.microsoft.com/office/drawing/2014/main" id="{0E65F451-7EBF-FC4B-8F5D-1D05A602B400}"/>
                </a:ext>
              </a:extLst>
            </p:cNvPr>
            <p:cNvGrpSpPr/>
            <p:nvPr userDrawn="1"/>
          </p:nvGrpSpPr>
          <p:grpSpPr>
            <a:xfrm>
              <a:off x="-250295" y="1512956"/>
              <a:ext cx="4808295" cy="1299836"/>
              <a:chOff x="438818" y="-1"/>
              <a:chExt cx="4808295" cy="1299836"/>
            </a:xfrm>
          </p:grpSpPr>
          <p:grpSp>
            <p:nvGrpSpPr>
              <p:cNvPr id="22" name="Groupe 21">
                <a:extLst>
                  <a:ext uri="{FF2B5EF4-FFF2-40B4-BE49-F238E27FC236}">
                    <a16:creationId xmlns:a16="http://schemas.microsoft.com/office/drawing/2014/main" id="{6861C47C-A720-7FA6-F34A-6BBFBA7EFC8A}"/>
                  </a:ext>
                </a:extLst>
              </p:cNvPr>
              <p:cNvGrpSpPr/>
              <p:nvPr userDrawn="1"/>
            </p:nvGrpSpPr>
            <p:grpSpPr>
              <a:xfrm>
                <a:off x="1849427" y="-1"/>
                <a:ext cx="3397686" cy="1299836"/>
                <a:chOff x="1849427" y="-1"/>
                <a:chExt cx="3397686" cy="1299836"/>
              </a:xfrm>
            </p:grpSpPr>
            <p:sp>
              <p:nvSpPr>
                <p:cNvPr id="26" name="Graphique 7">
                  <a:extLst>
                    <a:ext uri="{FF2B5EF4-FFF2-40B4-BE49-F238E27FC236}">
                      <a16:creationId xmlns:a16="http://schemas.microsoft.com/office/drawing/2014/main" id="{C73DBE09-BD27-1680-2120-679EA25394E3}"/>
                    </a:ext>
                  </a:extLst>
                </p:cNvPr>
                <p:cNvSpPr/>
                <p:nvPr/>
              </p:nvSpPr>
              <p:spPr>
                <a:xfrm>
                  <a:off x="4049048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sp>
              <p:nvSpPr>
                <p:cNvPr id="27" name="Rectangle 26">
                  <a:extLst>
                    <a:ext uri="{FF2B5EF4-FFF2-40B4-BE49-F238E27FC236}">
                      <a16:creationId xmlns:a16="http://schemas.microsoft.com/office/drawing/2014/main" id="{319922D3-4D2E-1A62-4CAC-CC14B918A57B}"/>
                    </a:ext>
                  </a:extLst>
                </p:cNvPr>
                <p:cNvSpPr/>
                <p:nvPr userDrawn="1"/>
              </p:nvSpPr>
              <p:spPr>
                <a:xfrm>
                  <a:off x="3266662" y="-1"/>
                  <a:ext cx="563216" cy="129983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28" name="Graphique 7">
                  <a:extLst>
                    <a:ext uri="{FF2B5EF4-FFF2-40B4-BE49-F238E27FC236}">
                      <a16:creationId xmlns:a16="http://schemas.microsoft.com/office/drawing/2014/main" id="{30488E16-A00B-E7D9-A7EA-40B57E24955F}"/>
                    </a:ext>
                  </a:extLst>
                </p:cNvPr>
                <p:cNvSpPr/>
                <p:nvPr userDrawn="1"/>
              </p:nvSpPr>
              <p:spPr>
                <a:xfrm flipH="1">
                  <a:off x="1849427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5400000" scaled="1"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</p:grpSp>
          <p:sp>
            <p:nvSpPr>
              <p:cNvPr id="24" name="Graphique 7">
                <a:extLst>
                  <a:ext uri="{FF2B5EF4-FFF2-40B4-BE49-F238E27FC236}">
                    <a16:creationId xmlns:a16="http://schemas.microsoft.com/office/drawing/2014/main" id="{F85FF98E-BEDC-219A-4683-633F28BAAEFA}"/>
                  </a:ext>
                </a:extLst>
              </p:cNvPr>
              <p:cNvSpPr/>
              <p:nvPr/>
            </p:nvSpPr>
            <p:spPr>
              <a:xfrm>
                <a:off x="438818" y="0"/>
                <a:ext cx="1198065" cy="1299835"/>
              </a:xfrm>
              <a:custGeom>
                <a:avLst/>
                <a:gdLst>
                  <a:gd name="connsiteX0" fmla="*/ 608369 w 1198065"/>
                  <a:gd name="connsiteY0" fmla="*/ 0 h 1299835"/>
                  <a:gd name="connsiteX1" fmla="*/ 0 w 1198065"/>
                  <a:gd name="connsiteY1" fmla="*/ 1299836 h 1299835"/>
                  <a:gd name="connsiteX2" fmla="*/ 589696 w 1198065"/>
                  <a:gd name="connsiteY2" fmla="*/ 1299836 h 1299835"/>
                  <a:gd name="connsiteX3" fmla="*/ 1198065 w 1198065"/>
                  <a:gd name="connsiteY3" fmla="*/ 0 h 1299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8065" h="1299835">
                    <a:moveTo>
                      <a:pt x="608369" y="0"/>
                    </a:moveTo>
                    <a:lnTo>
                      <a:pt x="0" y="1299836"/>
                    </a:lnTo>
                    <a:lnTo>
                      <a:pt x="589696" y="1299836"/>
                    </a:lnTo>
                    <a:lnTo>
                      <a:pt x="119806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  <a:ln w="3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  <p:grpSp>
          <p:nvGrpSpPr>
            <p:cNvPr id="29" name="Groupe 28">
              <a:extLst>
                <a:ext uri="{FF2B5EF4-FFF2-40B4-BE49-F238E27FC236}">
                  <a16:creationId xmlns:a16="http://schemas.microsoft.com/office/drawing/2014/main" id="{244EC672-E056-2C07-4223-C2AF1F0E9AC1}"/>
                </a:ext>
              </a:extLst>
            </p:cNvPr>
            <p:cNvGrpSpPr/>
            <p:nvPr userDrawn="1"/>
          </p:nvGrpSpPr>
          <p:grpSpPr>
            <a:xfrm>
              <a:off x="-946034" y="3025913"/>
              <a:ext cx="4808295" cy="1299836"/>
              <a:chOff x="438818" y="-1"/>
              <a:chExt cx="4808295" cy="1299836"/>
            </a:xfrm>
          </p:grpSpPr>
          <p:grpSp>
            <p:nvGrpSpPr>
              <p:cNvPr id="30" name="Groupe 29">
                <a:extLst>
                  <a:ext uri="{FF2B5EF4-FFF2-40B4-BE49-F238E27FC236}">
                    <a16:creationId xmlns:a16="http://schemas.microsoft.com/office/drawing/2014/main" id="{5ECCD583-1568-F3A9-4FA0-B58BCFE71F12}"/>
                  </a:ext>
                </a:extLst>
              </p:cNvPr>
              <p:cNvGrpSpPr/>
              <p:nvPr userDrawn="1"/>
            </p:nvGrpSpPr>
            <p:grpSpPr>
              <a:xfrm>
                <a:off x="1849427" y="-1"/>
                <a:ext cx="3397686" cy="1299836"/>
                <a:chOff x="1849427" y="-1"/>
                <a:chExt cx="3397686" cy="1299836"/>
              </a:xfrm>
            </p:grpSpPr>
            <p:sp>
              <p:nvSpPr>
                <p:cNvPr id="32" name="Graphique 7">
                  <a:extLst>
                    <a:ext uri="{FF2B5EF4-FFF2-40B4-BE49-F238E27FC236}">
                      <a16:creationId xmlns:a16="http://schemas.microsoft.com/office/drawing/2014/main" id="{CB868EFB-59C5-68A1-DE47-A11443FBBFF9}"/>
                    </a:ext>
                  </a:extLst>
                </p:cNvPr>
                <p:cNvSpPr/>
                <p:nvPr/>
              </p:nvSpPr>
              <p:spPr>
                <a:xfrm>
                  <a:off x="4049048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E340A2F1-6155-5EA1-D67A-C789200E08C6}"/>
                    </a:ext>
                  </a:extLst>
                </p:cNvPr>
                <p:cNvSpPr/>
                <p:nvPr userDrawn="1"/>
              </p:nvSpPr>
              <p:spPr>
                <a:xfrm>
                  <a:off x="3266662" y="-1"/>
                  <a:ext cx="563216" cy="129983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34" name="Graphique 7">
                  <a:extLst>
                    <a:ext uri="{FF2B5EF4-FFF2-40B4-BE49-F238E27FC236}">
                      <a16:creationId xmlns:a16="http://schemas.microsoft.com/office/drawing/2014/main" id="{5AEC5129-4C9E-A741-8A87-E6453B6DCD5C}"/>
                    </a:ext>
                  </a:extLst>
                </p:cNvPr>
                <p:cNvSpPr/>
                <p:nvPr userDrawn="1"/>
              </p:nvSpPr>
              <p:spPr>
                <a:xfrm flipH="1">
                  <a:off x="1849427" y="0"/>
                  <a:ext cx="1198065" cy="1299835"/>
                </a:xfrm>
                <a:custGeom>
                  <a:avLst/>
                  <a:gdLst>
                    <a:gd name="connsiteX0" fmla="*/ 608369 w 1198065"/>
                    <a:gd name="connsiteY0" fmla="*/ 0 h 1299835"/>
                    <a:gd name="connsiteX1" fmla="*/ 0 w 1198065"/>
                    <a:gd name="connsiteY1" fmla="*/ 1299836 h 1299835"/>
                    <a:gd name="connsiteX2" fmla="*/ 589696 w 1198065"/>
                    <a:gd name="connsiteY2" fmla="*/ 1299836 h 1299835"/>
                    <a:gd name="connsiteX3" fmla="*/ 1198065 w 1198065"/>
                    <a:gd name="connsiteY3" fmla="*/ 0 h 12998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98065" h="1299835">
                      <a:moveTo>
                        <a:pt x="608369" y="0"/>
                      </a:moveTo>
                      <a:lnTo>
                        <a:pt x="0" y="1299836"/>
                      </a:lnTo>
                      <a:lnTo>
                        <a:pt x="589696" y="1299836"/>
                      </a:lnTo>
                      <a:lnTo>
                        <a:pt x="1198065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5400000" scaled="1"/>
                </a:gradFill>
                <a:ln w="370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fr-FR"/>
                </a:p>
              </p:txBody>
            </p:sp>
          </p:grpSp>
          <p:sp>
            <p:nvSpPr>
              <p:cNvPr id="31" name="Graphique 7">
                <a:extLst>
                  <a:ext uri="{FF2B5EF4-FFF2-40B4-BE49-F238E27FC236}">
                    <a16:creationId xmlns:a16="http://schemas.microsoft.com/office/drawing/2014/main" id="{4CA5A784-AC5C-794B-0EC5-0BB89FACF414}"/>
                  </a:ext>
                </a:extLst>
              </p:cNvPr>
              <p:cNvSpPr/>
              <p:nvPr/>
            </p:nvSpPr>
            <p:spPr>
              <a:xfrm>
                <a:off x="438818" y="0"/>
                <a:ext cx="1198065" cy="1299835"/>
              </a:xfrm>
              <a:custGeom>
                <a:avLst/>
                <a:gdLst>
                  <a:gd name="connsiteX0" fmla="*/ 608369 w 1198065"/>
                  <a:gd name="connsiteY0" fmla="*/ 0 h 1299835"/>
                  <a:gd name="connsiteX1" fmla="*/ 0 w 1198065"/>
                  <a:gd name="connsiteY1" fmla="*/ 1299836 h 1299835"/>
                  <a:gd name="connsiteX2" fmla="*/ 589696 w 1198065"/>
                  <a:gd name="connsiteY2" fmla="*/ 1299836 h 1299835"/>
                  <a:gd name="connsiteX3" fmla="*/ 1198065 w 1198065"/>
                  <a:gd name="connsiteY3" fmla="*/ 0 h 1299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8065" h="1299835">
                    <a:moveTo>
                      <a:pt x="608369" y="0"/>
                    </a:moveTo>
                    <a:lnTo>
                      <a:pt x="0" y="1299836"/>
                    </a:lnTo>
                    <a:lnTo>
                      <a:pt x="589696" y="1299836"/>
                    </a:lnTo>
                    <a:lnTo>
                      <a:pt x="119806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  <a:ln w="3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  <p:grpSp>
          <p:nvGrpSpPr>
            <p:cNvPr id="36" name="Groupe 35">
              <a:extLst>
                <a:ext uri="{FF2B5EF4-FFF2-40B4-BE49-F238E27FC236}">
                  <a16:creationId xmlns:a16="http://schemas.microsoft.com/office/drawing/2014/main" id="{29A0F451-1C63-5BFD-8B65-419DA69140E6}"/>
                </a:ext>
              </a:extLst>
            </p:cNvPr>
            <p:cNvGrpSpPr/>
            <p:nvPr userDrawn="1"/>
          </p:nvGrpSpPr>
          <p:grpSpPr>
            <a:xfrm>
              <a:off x="-237790" y="4538869"/>
              <a:ext cx="3397686" cy="1299836"/>
              <a:chOff x="1849427" y="-1"/>
              <a:chExt cx="3397686" cy="1299836"/>
            </a:xfrm>
          </p:grpSpPr>
          <p:sp>
            <p:nvSpPr>
              <p:cNvPr id="38" name="Graphique 7">
                <a:extLst>
                  <a:ext uri="{FF2B5EF4-FFF2-40B4-BE49-F238E27FC236}">
                    <a16:creationId xmlns:a16="http://schemas.microsoft.com/office/drawing/2014/main" id="{BB6FA5BA-A229-868D-631B-EF4E3126A725}"/>
                  </a:ext>
                </a:extLst>
              </p:cNvPr>
              <p:cNvSpPr/>
              <p:nvPr/>
            </p:nvSpPr>
            <p:spPr>
              <a:xfrm>
                <a:off x="4049048" y="0"/>
                <a:ext cx="1198065" cy="1299835"/>
              </a:xfrm>
              <a:custGeom>
                <a:avLst/>
                <a:gdLst>
                  <a:gd name="connsiteX0" fmla="*/ 608369 w 1198065"/>
                  <a:gd name="connsiteY0" fmla="*/ 0 h 1299835"/>
                  <a:gd name="connsiteX1" fmla="*/ 0 w 1198065"/>
                  <a:gd name="connsiteY1" fmla="*/ 1299836 h 1299835"/>
                  <a:gd name="connsiteX2" fmla="*/ 589696 w 1198065"/>
                  <a:gd name="connsiteY2" fmla="*/ 1299836 h 1299835"/>
                  <a:gd name="connsiteX3" fmla="*/ 1198065 w 1198065"/>
                  <a:gd name="connsiteY3" fmla="*/ 0 h 1299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8065" h="1299835">
                    <a:moveTo>
                      <a:pt x="608369" y="0"/>
                    </a:moveTo>
                    <a:lnTo>
                      <a:pt x="0" y="1299836"/>
                    </a:lnTo>
                    <a:lnTo>
                      <a:pt x="589696" y="1299836"/>
                    </a:lnTo>
                    <a:lnTo>
                      <a:pt x="1198065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  <a:ln w="3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3AA63DE1-4448-C123-AAEF-09763C2E8F63}"/>
                  </a:ext>
                </a:extLst>
              </p:cNvPr>
              <p:cNvSpPr/>
              <p:nvPr userDrawn="1"/>
            </p:nvSpPr>
            <p:spPr>
              <a:xfrm>
                <a:off x="3266662" y="-1"/>
                <a:ext cx="563216" cy="1299835"/>
              </a:xfrm>
              <a:prstGeom prst="rect">
                <a:avLst/>
              </a:pr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40" name="Graphique 7">
                <a:extLst>
                  <a:ext uri="{FF2B5EF4-FFF2-40B4-BE49-F238E27FC236}">
                    <a16:creationId xmlns:a16="http://schemas.microsoft.com/office/drawing/2014/main" id="{22CEBF86-CC02-8057-7515-18E7693F0FF3}"/>
                  </a:ext>
                </a:extLst>
              </p:cNvPr>
              <p:cNvSpPr/>
              <p:nvPr userDrawn="1"/>
            </p:nvSpPr>
            <p:spPr>
              <a:xfrm flipH="1">
                <a:off x="1849427" y="0"/>
                <a:ext cx="1198065" cy="1299835"/>
              </a:xfrm>
              <a:custGeom>
                <a:avLst/>
                <a:gdLst>
                  <a:gd name="connsiteX0" fmla="*/ 608369 w 1198065"/>
                  <a:gd name="connsiteY0" fmla="*/ 0 h 1299835"/>
                  <a:gd name="connsiteX1" fmla="*/ 0 w 1198065"/>
                  <a:gd name="connsiteY1" fmla="*/ 1299836 h 1299835"/>
                  <a:gd name="connsiteX2" fmla="*/ 589696 w 1198065"/>
                  <a:gd name="connsiteY2" fmla="*/ 1299836 h 1299835"/>
                  <a:gd name="connsiteX3" fmla="*/ 1198065 w 1198065"/>
                  <a:gd name="connsiteY3" fmla="*/ 0 h 1299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8065" h="1299835">
                    <a:moveTo>
                      <a:pt x="608369" y="0"/>
                    </a:moveTo>
                    <a:lnTo>
                      <a:pt x="0" y="1299836"/>
                    </a:lnTo>
                    <a:lnTo>
                      <a:pt x="589696" y="1299836"/>
                    </a:lnTo>
                    <a:lnTo>
                      <a:pt x="1198065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ln w="37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22459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us (blanc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5F731B6-E27A-E96D-BDBA-A2A194EEF4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Titre de la diapositive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1DC6BED-A945-644B-73B4-4EBEDC9F800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Nom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C821AAE-B262-3441-2744-FA0ED8B4BB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39866C2-A242-5F42-9BF9-B1A825A27D5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9D511F86-4520-F50F-6471-543FAAFB975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10400" y="3951287"/>
            <a:ext cx="2433328" cy="1873043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</a:lstStyle>
          <a:p>
            <a:pPr lvl="0"/>
            <a:r>
              <a:rPr lang="fr-FR" dirty="0"/>
              <a:t>Texte de 1er niveau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 (Puce niveau 1)</a:t>
            </a:r>
          </a:p>
          <a:p>
            <a:pPr lvl="4"/>
            <a:r>
              <a:rPr lang="fr-FR" dirty="0"/>
              <a:t>Texte de niveau 5 (Puce niveau 2)</a:t>
            </a:r>
          </a:p>
          <a:p>
            <a:pPr lvl="5"/>
            <a:r>
              <a:rPr lang="fr-FR" dirty="0"/>
              <a:t>Texte de niveau 6 (Puce niveau 3)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54DAD5EB-AC9F-6B9C-E9F9-776034E8CF4E}"/>
              </a:ext>
            </a:extLst>
          </p:cNvPr>
          <p:cNvCxnSpPr>
            <a:cxnSpLocks/>
          </p:cNvCxnSpPr>
          <p:nvPr userDrawn="1"/>
        </p:nvCxnSpPr>
        <p:spPr>
          <a:xfrm>
            <a:off x="11558257" y="5934075"/>
            <a:ext cx="0" cy="29164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que 10">
            <a:extLst>
              <a:ext uri="{FF2B5EF4-FFF2-40B4-BE49-F238E27FC236}">
                <a16:creationId xmlns:a16="http://schemas.microsoft.com/office/drawing/2014/main" id="{16BA8374-3698-BC77-BFB9-F10EE55D24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05514" y="377563"/>
            <a:ext cx="505486" cy="221704"/>
          </a:xfrm>
          <a:prstGeom prst="rect">
            <a:avLst/>
          </a:prstGeom>
        </p:spPr>
      </p:pic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CEF4C936-C736-9382-40C7-7E4C5494E65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310400" y="2132348"/>
            <a:ext cx="2433339" cy="1545130"/>
          </a:xfrm>
        </p:spPr>
        <p:txBody>
          <a:bodyPr/>
          <a:lstStyle/>
          <a:p>
            <a:endParaRPr lang="fr-FR"/>
          </a:p>
        </p:txBody>
      </p:sp>
      <p:sp>
        <p:nvSpPr>
          <p:cNvPr id="7" name="Espace réservé du texte 8">
            <a:extLst>
              <a:ext uri="{FF2B5EF4-FFF2-40B4-BE49-F238E27FC236}">
                <a16:creationId xmlns:a16="http://schemas.microsoft.com/office/drawing/2014/main" id="{6FB56F65-BCFE-8A99-356D-E8C86425DC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79330" y="3951287"/>
            <a:ext cx="2433328" cy="1873043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</a:lstStyle>
          <a:p>
            <a:pPr lvl="0"/>
            <a:r>
              <a:rPr lang="fr-FR" dirty="0"/>
              <a:t>Texte de 1er niveau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 (Puce niveau 1)</a:t>
            </a:r>
          </a:p>
          <a:p>
            <a:pPr lvl="4"/>
            <a:r>
              <a:rPr lang="fr-FR" dirty="0"/>
              <a:t>Texte de niveau 5 (Puce niveau 2)</a:t>
            </a:r>
          </a:p>
          <a:p>
            <a:pPr lvl="5"/>
            <a:r>
              <a:rPr lang="fr-FR" dirty="0"/>
              <a:t>Texte de niveau 6 (Puce niveau 3)</a:t>
            </a:r>
          </a:p>
        </p:txBody>
      </p:sp>
      <p:sp>
        <p:nvSpPr>
          <p:cNvPr id="8" name="Espace réservé pour une image  5">
            <a:extLst>
              <a:ext uri="{FF2B5EF4-FFF2-40B4-BE49-F238E27FC236}">
                <a16:creationId xmlns:a16="http://schemas.microsoft.com/office/drawing/2014/main" id="{ABA885A0-EC8B-4893-2FA7-9BB3FB0621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879330" y="2132348"/>
            <a:ext cx="2433339" cy="154513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texte 8">
            <a:extLst>
              <a:ext uri="{FF2B5EF4-FFF2-40B4-BE49-F238E27FC236}">
                <a16:creationId xmlns:a16="http://schemas.microsoft.com/office/drawing/2014/main" id="{B35E6675-BA16-EEB6-C25A-EC58EAA0617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448249" y="3951287"/>
            <a:ext cx="2433328" cy="1873043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</a:lstStyle>
          <a:p>
            <a:pPr lvl="0"/>
            <a:r>
              <a:rPr lang="fr-FR" dirty="0"/>
              <a:t>Texte de 1er niveau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 (Puce niveau 1)</a:t>
            </a:r>
          </a:p>
          <a:p>
            <a:pPr lvl="4"/>
            <a:r>
              <a:rPr lang="fr-FR" dirty="0"/>
              <a:t>Texte de niveau 5 (Puce niveau 2)</a:t>
            </a:r>
          </a:p>
          <a:p>
            <a:pPr lvl="5"/>
            <a:r>
              <a:rPr lang="fr-FR" dirty="0"/>
              <a:t>Texte de niveau 6 (Puce niveau 3)</a:t>
            </a:r>
          </a:p>
        </p:txBody>
      </p:sp>
      <p:sp>
        <p:nvSpPr>
          <p:cNvPr id="13" name="Espace réservé pour une image  5">
            <a:extLst>
              <a:ext uri="{FF2B5EF4-FFF2-40B4-BE49-F238E27FC236}">
                <a16:creationId xmlns:a16="http://schemas.microsoft.com/office/drawing/2014/main" id="{797D6731-58DA-F6D2-3CFE-48C4856D89E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448249" y="2132348"/>
            <a:ext cx="2433339" cy="1545130"/>
          </a:xfr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04010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titre + photo (lapis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Espace réservé pour une image  19">
            <a:extLst>
              <a:ext uri="{FF2B5EF4-FFF2-40B4-BE49-F238E27FC236}">
                <a16:creationId xmlns:a16="http://schemas.microsoft.com/office/drawing/2014/main" id="{511F3EEC-8189-2052-B57C-397C9753DC5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362198" y="1"/>
            <a:ext cx="9829802" cy="4276155"/>
          </a:xfrm>
          <a:custGeom>
            <a:avLst/>
            <a:gdLst>
              <a:gd name="connsiteX0" fmla="*/ 2011052 w 9829802"/>
              <a:gd name="connsiteY0" fmla="*/ 0 h 4276155"/>
              <a:gd name="connsiteX1" fmla="*/ 6026856 w 9829802"/>
              <a:gd name="connsiteY1" fmla="*/ 0 h 4276155"/>
              <a:gd name="connsiteX2" fmla="*/ 7957306 w 9829802"/>
              <a:gd name="connsiteY2" fmla="*/ 4099198 h 4276155"/>
              <a:gd name="connsiteX3" fmla="*/ 7957306 w 9829802"/>
              <a:gd name="connsiteY3" fmla="*/ 0 h 4276155"/>
              <a:gd name="connsiteX4" fmla="*/ 9829802 w 9829802"/>
              <a:gd name="connsiteY4" fmla="*/ 0 h 4276155"/>
              <a:gd name="connsiteX5" fmla="*/ 9829802 w 9829802"/>
              <a:gd name="connsiteY5" fmla="*/ 4276155 h 4276155"/>
              <a:gd name="connsiteX6" fmla="*/ 9813687 w 9829802"/>
              <a:gd name="connsiteY6" fmla="*/ 4276155 h 4276155"/>
              <a:gd name="connsiteX7" fmla="*/ 0 w 9829802"/>
              <a:gd name="connsiteY7" fmla="*/ 4276155 h 4276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829802" h="4276155">
                <a:moveTo>
                  <a:pt x="2011052" y="0"/>
                </a:moveTo>
                <a:lnTo>
                  <a:pt x="6026856" y="0"/>
                </a:lnTo>
                <a:lnTo>
                  <a:pt x="7957306" y="4099198"/>
                </a:lnTo>
                <a:lnTo>
                  <a:pt x="7957306" y="0"/>
                </a:lnTo>
                <a:lnTo>
                  <a:pt x="9829802" y="0"/>
                </a:lnTo>
                <a:lnTo>
                  <a:pt x="9829802" y="4276155"/>
                </a:lnTo>
                <a:lnTo>
                  <a:pt x="9813687" y="4276155"/>
                </a:lnTo>
                <a:lnTo>
                  <a:pt x="0" y="4276155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B61E6B2F-E456-5782-3B98-F627DBF759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2000" y="3554900"/>
            <a:ext cx="9144000" cy="2387600"/>
          </a:xfrm>
        </p:spPr>
        <p:txBody>
          <a:bodyPr anchor="t"/>
          <a:lstStyle>
            <a:lvl1pPr algn="l">
              <a:lnSpc>
                <a:spcPct val="85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562A1E55-410F-ED77-A57B-0F6BA9CEAC5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6139" y="477643"/>
            <a:ext cx="2989384" cy="461665"/>
          </a:xfrm>
        </p:spPr>
        <p:txBody>
          <a:bodyPr wrap="square">
            <a:sp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pic>
        <p:nvPicPr>
          <p:cNvPr id="6" name="Graphique 5">
            <a:extLst>
              <a:ext uri="{FF2B5EF4-FFF2-40B4-BE49-F238E27FC236}">
                <a16:creationId xmlns:a16="http://schemas.microsoft.com/office/drawing/2014/main" id="{8B440EB0-C4E0-7682-6847-7EE5237896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25000" y="6269967"/>
            <a:ext cx="2300400" cy="211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355884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ntenus (blanc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5F731B6-E27A-E96D-BDBA-A2A194EEF4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Titre de la diapositive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1DC6BED-A945-644B-73B4-4EBEDC9F800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Nom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C821AAE-B262-3441-2744-FA0ED8B4BB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39866C2-A242-5F42-9BF9-B1A825A27D54}" type="slidenum">
              <a:rPr lang="fr-FR" smtClean="0"/>
              <a:pPr/>
              <a:t>‹#›</a:t>
            </a:fld>
            <a:endParaRPr lang="fr-FR" dirty="0"/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54DAD5EB-AC9F-6B9C-E9F9-776034E8CF4E}"/>
              </a:ext>
            </a:extLst>
          </p:cNvPr>
          <p:cNvCxnSpPr>
            <a:cxnSpLocks/>
          </p:cNvCxnSpPr>
          <p:nvPr userDrawn="1"/>
        </p:nvCxnSpPr>
        <p:spPr>
          <a:xfrm>
            <a:off x="11558257" y="5934075"/>
            <a:ext cx="0" cy="29164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que 10">
            <a:extLst>
              <a:ext uri="{FF2B5EF4-FFF2-40B4-BE49-F238E27FC236}">
                <a16:creationId xmlns:a16="http://schemas.microsoft.com/office/drawing/2014/main" id="{16BA8374-3698-BC77-BFB9-F10EE55D24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05514" y="377563"/>
            <a:ext cx="505486" cy="221704"/>
          </a:xfrm>
          <a:prstGeom prst="rect">
            <a:avLst/>
          </a:prstGeom>
        </p:spPr>
      </p:pic>
      <p:sp>
        <p:nvSpPr>
          <p:cNvPr id="19" name="Espace réservé du texte 8">
            <a:extLst>
              <a:ext uri="{FF2B5EF4-FFF2-40B4-BE49-F238E27FC236}">
                <a16:creationId xmlns:a16="http://schemas.microsoft.com/office/drawing/2014/main" id="{3BBC4FC8-700A-FE54-4E8F-4CCD283945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10400" y="2083984"/>
            <a:ext cx="2433328" cy="1545130"/>
          </a:xfrm>
        </p:spPr>
        <p:txBody>
          <a:bodyPr/>
          <a:lstStyle>
            <a:lvl1pPr algn="ctr">
              <a:defRPr sz="42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</a:lstStyle>
          <a:p>
            <a:pPr lvl="0"/>
            <a:r>
              <a:rPr lang="fr-FR" dirty="0"/>
              <a:t>Texte de 1er niveau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 (Puce niveau 1)</a:t>
            </a:r>
          </a:p>
          <a:p>
            <a:pPr lvl="4"/>
            <a:r>
              <a:rPr lang="fr-FR" dirty="0"/>
              <a:t>Texte de niveau 5 (Puce niveau 2)</a:t>
            </a:r>
          </a:p>
          <a:p>
            <a:pPr lvl="5"/>
            <a:r>
              <a:rPr lang="fr-FR" dirty="0"/>
              <a:t>Texte de niveau 6 (Puce niveau 3)</a:t>
            </a:r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97639C19-0AED-BCC5-0486-1B9BF197E2D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10400" y="4133426"/>
            <a:ext cx="2433328" cy="1545130"/>
          </a:xfrm>
        </p:spPr>
        <p:txBody>
          <a:bodyPr/>
          <a:lstStyle>
            <a:lvl1pPr algn="ctr">
              <a:defRPr sz="42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</a:lstStyle>
          <a:p>
            <a:pPr lvl="0"/>
            <a:r>
              <a:rPr lang="fr-FR" dirty="0"/>
              <a:t>Texte de 1er niveau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 (Puce niveau 1)</a:t>
            </a:r>
          </a:p>
          <a:p>
            <a:pPr lvl="4"/>
            <a:r>
              <a:rPr lang="fr-FR" dirty="0"/>
              <a:t>Texte de niveau 5 (Puce niveau 2)</a:t>
            </a:r>
          </a:p>
          <a:p>
            <a:pPr lvl="5"/>
            <a:r>
              <a:rPr lang="fr-FR" dirty="0"/>
              <a:t>Texte de niveau 6 (Puce niveau 3)</a:t>
            </a:r>
          </a:p>
        </p:txBody>
      </p:sp>
      <p:sp>
        <p:nvSpPr>
          <p:cNvPr id="23" name="Espace réservé du texte 8">
            <a:extLst>
              <a:ext uri="{FF2B5EF4-FFF2-40B4-BE49-F238E27FC236}">
                <a16:creationId xmlns:a16="http://schemas.microsoft.com/office/drawing/2014/main" id="{B93E1423-560C-7C22-CA5A-C6943F160EB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79336" y="2083984"/>
            <a:ext cx="2433328" cy="1545130"/>
          </a:xfrm>
        </p:spPr>
        <p:txBody>
          <a:bodyPr/>
          <a:lstStyle>
            <a:lvl1pPr algn="ctr">
              <a:defRPr sz="42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</a:lstStyle>
          <a:p>
            <a:pPr lvl="0"/>
            <a:r>
              <a:rPr lang="fr-FR" dirty="0"/>
              <a:t>Texte de 1er niveau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 (Puce niveau 1)</a:t>
            </a:r>
          </a:p>
          <a:p>
            <a:pPr lvl="4"/>
            <a:r>
              <a:rPr lang="fr-FR" dirty="0"/>
              <a:t>Texte de niveau 5 (Puce niveau 2)</a:t>
            </a:r>
          </a:p>
          <a:p>
            <a:pPr lvl="5"/>
            <a:r>
              <a:rPr lang="fr-FR" dirty="0"/>
              <a:t>Texte de niveau 6 (Puce niveau 3)</a:t>
            </a:r>
          </a:p>
        </p:txBody>
      </p:sp>
      <p:sp>
        <p:nvSpPr>
          <p:cNvPr id="24" name="Espace réservé du texte 8">
            <a:extLst>
              <a:ext uri="{FF2B5EF4-FFF2-40B4-BE49-F238E27FC236}">
                <a16:creationId xmlns:a16="http://schemas.microsoft.com/office/drawing/2014/main" id="{1954A713-9204-79B9-AFFD-DF29FF6FF2D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79336" y="4133426"/>
            <a:ext cx="2433328" cy="1545130"/>
          </a:xfrm>
        </p:spPr>
        <p:txBody>
          <a:bodyPr/>
          <a:lstStyle>
            <a:lvl1pPr algn="ctr">
              <a:defRPr sz="42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</a:lstStyle>
          <a:p>
            <a:pPr lvl="0"/>
            <a:r>
              <a:rPr lang="fr-FR" dirty="0"/>
              <a:t>Texte de 1er niveau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 (Puce niveau 1)</a:t>
            </a:r>
          </a:p>
          <a:p>
            <a:pPr lvl="4"/>
            <a:r>
              <a:rPr lang="fr-FR" dirty="0"/>
              <a:t>Texte de niveau 5 (Puce niveau 2)</a:t>
            </a:r>
          </a:p>
          <a:p>
            <a:pPr lvl="5"/>
            <a:r>
              <a:rPr lang="fr-FR" dirty="0"/>
              <a:t>Texte de niveau 6 (Puce niveau 3)</a:t>
            </a:r>
          </a:p>
        </p:txBody>
      </p:sp>
      <p:sp>
        <p:nvSpPr>
          <p:cNvPr id="27" name="Espace réservé du texte 8">
            <a:extLst>
              <a:ext uri="{FF2B5EF4-FFF2-40B4-BE49-F238E27FC236}">
                <a16:creationId xmlns:a16="http://schemas.microsoft.com/office/drawing/2014/main" id="{5F11C5E3-A929-53C6-7925-E5E9D2070BA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48249" y="2083984"/>
            <a:ext cx="2433328" cy="1545130"/>
          </a:xfrm>
        </p:spPr>
        <p:txBody>
          <a:bodyPr/>
          <a:lstStyle>
            <a:lvl1pPr algn="ctr">
              <a:defRPr sz="42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</a:lstStyle>
          <a:p>
            <a:pPr lvl="0"/>
            <a:r>
              <a:rPr lang="fr-FR" dirty="0"/>
              <a:t>Texte de 1er niveau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 (Puce niveau 1)</a:t>
            </a:r>
          </a:p>
          <a:p>
            <a:pPr lvl="4"/>
            <a:r>
              <a:rPr lang="fr-FR" dirty="0"/>
              <a:t>Texte de niveau 5 (Puce niveau 2)</a:t>
            </a:r>
          </a:p>
          <a:p>
            <a:pPr lvl="5"/>
            <a:r>
              <a:rPr lang="fr-FR" dirty="0"/>
              <a:t>Texte de niveau 6 (Puce niveau 3)</a:t>
            </a:r>
          </a:p>
        </p:txBody>
      </p:sp>
      <p:sp>
        <p:nvSpPr>
          <p:cNvPr id="28" name="Espace réservé du texte 8">
            <a:extLst>
              <a:ext uri="{FF2B5EF4-FFF2-40B4-BE49-F238E27FC236}">
                <a16:creationId xmlns:a16="http://schemas.microsoft.com/office/drawing/2014/main" id="{8F03FD8D-2007-6591-1318-FBF91C4B6A4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8249" y="4133426"/>
            <a:ext cx="2433328" cy="1545130"/>
          </a:xfrm>
        </p:spPr>
        <p:txBody>
          <a:bodyPr/>
          <a:lstStyle>
            <a:lvl1pPr algn="ctr">
              <a:defRPr sz="42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</a:lstStyle>
          <a:p>
            <a:pPr lvl="0"/>
            <a:r>
              <a:rPr lang="fr-FR" dirty="0"/>
              <a:t>Texte de 1er niveau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 (Puce niveau 1)</a:t>
            </a:r>
          </a:p>
          <a:p>
            <a:pPr lvl="4"/>
            <a:r>
              <a:rPr lang="fr-FR" dirty="0"/>
              <a:t>Texte de niveau 5 (Puce niveau 2)</a:t>
            </a:r>
          </a:p>
          <a:p>
            <a:pPr lvl="5"/>
            <a:r>
              <a:rPr lang="fr-FR" dirty="0"/>
              <a:t>Texte de niveau 6 (Puce niveau 3)</a:t>
            </a:r>
          </a:p>
        </p:txBody>
      </p:sp>
    </p:spTree>
    <p:extLst>
      <p:ext uri="{BB962C8B-B14F-4D97-AF65-F5344CB8AC3E}">
        <p14:creationId xmlns:p14="http://schemas.microsoft.com/office/powerpoint/2010/main" val="379720339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rci ! (lapis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que 5">
            <a:extLst>
              <a:ext uri="{FF2B5EF4-FFF2-40B4-BE49-F238E27FC236}">
                <a16:creationId xmlns:a16="http://schemas.microsoft.com/office/drawing/2014/main" id="{B40ADE98-4FBA-0C7D-51C2-93AE94B963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54557" y="3130826"/>
            <a:ext cx="3882886" cy="356805"/>
          </a:xfrm>
          <a:prstGeom prst="rect">
            <a:avLst/>
          </a:prstGeom>
        </p:spPr>
      </p:pic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8E6FF1BA-8EF1-BD6B-4A1D-2340F5CBC27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4600" y="3686243"/>
            <a:ext cx="7642800" cy="461665"/>
          </a:xfrm>
        </p:spPr>
        <p:txBody>
          <a:bodyPr>
            <a:sp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 algn="ctr"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fr-FR" dirty="0"/>
              <a:t>Texte de 1er niveau</a:t>
            </a:r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534EFEB4-57F6-B8FF-7DC1-90000D9C384A}"/>
              </a:ext>
            </a:extLst>
          </p:cNvPr>
          <p:cNvGrpSpPr/>
          <p:nvPr userDrawn="1"/>
        </p:nvGrpSpPr>
        <p:grpSpPr>
          <a:xfrm>
            <a:off x="4239589" y="6218780"/>
            <a:ext cx="3712822" cy="194384"/>
            <a:chOff x="4194313" y="6218780"/>
            <a:chExt cx="3712822" cy="194384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B61639EE-E6C9-A870-BCD3-11F7E3EBBD73}"/>
                </a:ext>
              </a:extLst>
            </p:cNvPr>
            <p:cNvSpPr/>
            <p:nvPr userDrawn="1"/>
          </p:nvSpPr>
          <p:spPr>
            <a:xfrm>
              <a:off x="4194313" y="6218780"/>
              <a:ext cx="1043554" cy="17851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pPr algn="l"/>
              <a:r>
                <a:rPr lang="fr-FR" sz="1160" dirty="0" err="1"/>
                <a:t>www.positive.ai</a:t>
              </a:r>
              <a:endParaRPr lang="fr-FR" sz="1160" dirty="0"/>
            </a:p>
          </p:txBody>
        </p:sp>
        <p:grpSp>
          <p:nvGrpSpPr>
            <p:cNvPr id="16" name="Groupe 15">
              <a:extLst>
                <a:ext uri="{FF2B5EF4-FFF2-40B4-BE49-F238E27FC236}">
                  <a16:creationId xmlns:a16="http://schemas.microsoft.com/office/drawing/2014/main" id="{E67611C6-7EF5-3328-815E-1619C209E5DF}"/>
                </a:ext>
              </a:extLst>
            </p:cNvPr>
            <p:cNvGrpSpPr/>
            <p:nvPr userDrawn="1"/>
          </p:nvGrpSpPr>
          <p:grpSpPr>
            <a:xfrm>
              <a:off x="6983482" y="6218780"/>
              <a:ext cx="923653" cy="194384"/>
              <a:chOff x="6983482" y="6218780"/>
              <a:chExt cx="923653" cy="194384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9931A644-7C93-D1F5-915B-22CB12001902}"/>
                  </a:ext>
                </a:extLst>
              </p:cNvPr>
              <p:cNvSpPr/>
              <p:nvPr userDrawn="1"/>
            </p:nvSpPr>
            <p:spPr>
              <a:xfrm>
                <a:off x="7229064" y="6218780"/>
                <a:ext cx="678071" cy="17851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spAutoFit/>
              </a:bodyPr>
              <a:lstStyle/>
              <a:p>
                <a:pPr algn="l"/>
                <a:r>
                  <a:rPr lang="fr-FR" sz="1160" dirty="0"/>
                  <a:t>Positive AI</a:t>
                </a:r>
              </a:p>
            </p:txBody>
          </p:sp>
          <p:pic>
            <p:nvPicPr>
              <p:cNvPr id="13" name="Graphique 12">
                <a:extLst>
                  <a:ext uri="{FF2B5EF4-FFF2-40B4-BE49-F238E27FC236}">
                    <a16:creationId xmlns:a16="http://schemas.microsoft.com/office/drawing/2014/main" id="{ABC463C7-FF30-0814-3C22-811919E65B2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983482" y="6230671"/>
                <a:ext cx="182493" cy="182493"/>
              </a:xfrm>
              <a:prstGeom prst="rect">
                <a:avLst/>
              </a:prstGeom>
            </p:spPr>
          </p:pic>
        </p:grpSp>
        <p:grpSp>
          <p:nvGrpSpPr>
            <p:cNvPr id="17" name="Groupe 16">
              <a:extLst>
                <a:ext uri="{FF2B5EF4-FFF2-40B4-BE49-F238E27FC236}">
                  <a16:creationId xmlns:a16="http://schemas.microsoft.com/office/drawing/2014/main" id="{92504439-B042-1C48-9DAF-C7EDC90FE857}"/>
                </a:ext>
              </a:extLst>
            </p:cNvPr>
            <p:cNvGrpSpPr/>
            <p:nvPr userDrawn="1"/>
          </p:nvGrpSpPr>
          <p:grpSpPr>
            <a:xfrm>
              <a:off x="5548244" y="6218780"/>
              <a:ext cx="1146513" cy="178510"/>
              <a:chOff x="5548244" y="6218780"/>
              <a:chExt cx="1146513" cy="178510"/>
            </a:xfrm>
          </p:grpSpPr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A31FF944-8FC9-60E0-30D6-A9BF2E26E690}"/>
                  </a:ext>
                </a:extLst>
              </p:cNvPr>
              <p:cNvSpPr/>
              <p:nvPr userDrawn="1"/>
            </p:nvSpPr>
            <p:spPr>
              <a:xfrm>
                <a:off x="5798678" y="6218780"/>
                <a:ext cx="896079" cy="17851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spAutoFit/>
              </a:bodyPr>
              <a:lstStyle/>
              <a:p>
                <a:pPr algn="l"/>
                <a:r>
                  <a:rPr lang="fr-FR" sz="1160" dirty="0"/>
                  <a:t>@</a:t>
                </a:r>
                <a:r>
                  <a:rPr lang="fr-FR" sz="1160" dirty="0" err="1"/>
                  <a:t>PositiveAI</a:t>
                </a:r>
                <a:r>
                  <a:rPr lang="fr-FR" sz="1160" dirty="0"/>
                  <a:t>_</a:t>
                </a:r>
              </a:p>
            </p:txBody>
          </p:sp>
          <p:pic>
            <p:nvPicPr>
              <p:cNvPr id="15" name="Graphique 14">
                <a:extLst>
                  <a:ext uri="{FF2B5EF4-FFF2-40B4-BE49-F238E27FC236}">
                    <a16:creationId xmlns:a16="http://schemas.microsoft.com/office/drawing/2014/main" id="{65351F66-0BB1-F83B-81DD-156DE9AC243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548244" y="6245310"/>
                <a:ext cx="187346" cy="151979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062004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ebook-slide-detail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F842A3C-353B-FE3A-A815-14472472E7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288816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479DDFFC-8F3D-7EF4-3DDF-1D000849786F}"/>
              </a:ext>
            </a:extLst>
          </p:cNvPr>
          <p:cNvSpPr/>
          <p:nvPr userDrawn="1"/>
        </p:nvSpPr>
        <p:spPr>
          <a:xfrm>
            <a:off x="8559649" y="1232453"/>
            <a:ext cx="2232000" cy="5340265"/>
          </a:xfrm>
          <a:prstGeom prst="roundRect">
            <a:avLst>
              <a:gd name="adj" fmla="val 6667"/>
            </a:avLst>
          </a:prstGeom>
          <a:solidFill>
            <a:srgbClr val="FAFAF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B18AB260-538D-5996-9C98-B1CB2CE26A2A}"/>
              </a:ext>
            </a:extLst>
          </p:cNvPr>
          <p:cNvSpPr/>
          <p:nvPr userDrawn="1"/>
        </p:nvSpPr>
        <p:spPr>
          <a:xfrm>
            <a:off x="6065367" y="1232453"/>
            <a:ext cx="2232000" cy="5340265"/>
          </a:xfrm>
          <a:prstGeom prst="roundRect">
            <a:avLst>
              <a:gd name="adj" fmla="val 6667"/>
            </a:avLst>
          </a:prstGeom>
          <a:solidFill>
            <a:srgbClr val="FAFAF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16ECDCA-DB53-0D1C-FB25-1CB6C087B5FE}"/>
              </a:ext>
            </a:extLst>
          </p:cNvPr>
          <p:cNvSpPr/>
          <p:nvPr userDrawn="1"/>
        </p:nvSpPr>
        <p:spPr>
          <a:xfrm>
            <a:off x="3557306" y="1232453"/>
            <a:ext cx="2232000" cy="5340265"/>
          </a:xfrm>
          <a:prstGeom prst="roundRect">
            <a:avLst>
              <a:gd name="adj" fmla="val 6667"/>
            </a:avLst>
          </a:prstGeom>
          <a:solidFill>
            <a:srgbClr val="FAFAF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Graphique 5">
            <a:extLst>
              <a:ext uri="{FF2B5EF4-FFF2-40B4-BE49-F238E27FC236}">
                <a16:creationId xmlns:a16="http://schemas.microsoft.com/office/drawing/2014/main" id="{558C791F-10EC-105F-7E27-69B87D5AA1C0}"/>
              </a:ext>
            </a:extLst>
          </p:cNvPr>
          <p:cNvSpPr/>
          <p:nvPr/>
        </p:nvSpPr>
        <p:spPr>
          <a:xfrm>
            <a:off x="480650" y="0"/>
            <a:ext cx="2432535" cy="2639169"/>
          </a:xfrm>
          <a:custGeom>
            <a:avLst/>
            <a:gdLst>
              <a:gd name="connsiteX0" fmla="*/ 1546789 w 3046100"/>
              <a:gd name="connsiteY0" fmla="*/ 0 h 3304854"/>
              <a:gd name="connsiteX1" fmla="*/ 0 w 3046100"/>
              <a:gd name="connsiteY1" fmla="*/ 3304855 h 3304854"/>
              <a:gd name="connsiteX2" fmla="*/ 1499312 w 3046100"/>
              <a:gd name="connsiteY2" fmla="*/ 3304855 h 3304854"/>
              <a:gd name="connsiteX3" fmla="*/ 3046101 w 3046100"/>
              <a:gd name="connsiteY3" fmla="*/ 0 h 330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6100" h="3304854">
                <a:moveTo>
                  <a:pt x="1546789" y="0"/>
                </a:moveTo>
                <a:lnTo>
                  <a:pt x="0" y="3304855"/>
                </a:lnTo>
                <a:lnTo>
                  <a:pt x="1499312" y="3304855"/>
                </a:lnTo>
                <a:lnTo>
                  <a:pt x="3046101" y="0"/>
                </a:lnTo>
                <a:close/>
              </a:path>
            </a:pathLst>
          </a:custGeom>
          <a:solidFill>
            <a:schemeClr val="bg2"/>
          </a:solidFill>
          <a:ln w="9495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96793B0-EE1C-D52F-FB50-0BB35E1CACFB}"/>
              </a:ext>
            </a:extLst>
          </p:cNvPr>
          <p:cNvSpPr/>
          <p:nvPr userDrawn="1"/>
        </p:nvSpPr>
        <p:spPr>
          <a:xfrm>
            <a:off x="1072523" y="1232453"/>
            <a:ext cx="2232000" cy="5340265"/>
          </a:xfrm>
          <a:prstGeom prst="roundRect">
            <a:avLst>
              <a:gd name="adj" fmla="val 6667"/>
            </a:avLst>
          </a:prstGeom>
          <a:solidFill>
            <a:srgbClr val="FAFAF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5F731B6-E27A-E96D-BDBA-A2A194EEF4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69756"/>
            <a:ext cx="10515600" cy="634707"/>
          </a:xfrm>
        </p:spPr>
        <p:txBody>
          <a:bodyPr vert="horz"/>
          <a:lstStyle>
            <a:lvl1pPr>
              <a:defRPr>
                <a:latin typeface="Syne Medium" pitchFamily="2" charset="77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C821AAE-B262-3441-2744-FA0ED8B4BB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39866C2-A242-5F42-9BF9-B1A825A27D54}" type="slidenum">
              <a:rPr lang="fr-FR" smtClean="0"/>
              <a:pPr/>
              <a:t>‹#›</a:t>
            </a:fld>
            <a:endParaRPr lang="fr-FR" dirty="0"/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54DAD5EB-AC9F-6B9C-E9F9-776034E8CF4E}"/>
              </a:ext>
            </a:extLst>
          </p:cNvPr>
          <p:cNvCxnSpPr>
            <a:cxnSpLocks/>
          </p:cNvCxnSpPr>
          <p:nvPr userDrawn="1"/>
        </p:nvCxnSpPr>
        <p:spPr>
          <a:xfrm>
            <a:off x="11558257" y="5934075"/>
            <a:ext cx="0" cy="29164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que 10">
            <a:extLst>
              <a:ext uri="{FF2B5EF4-FFF2-40B4-BE49-F238E27FC236}">
                <a16:creationId xmlns:a16="http://schemas.microsoft.com/office/drawing/2014/main" id="{16BA8374-3698-BC77-BFB9-F10EE55D24E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305514" y="377563"/>
            <a:ext cx="505486" cy="221704"/>
          </a:xfrm>
          <a:prstGeom prst="rect">
            <a:avLst/>
          </a:prstGeom>
        </p:spPr>
      </p:pic>
      <p:sp>
        <p:nvSpPr>
          <p:cNvPr id="54" name="Picture Placeholder 53">
            <a:extLst>
              <a:ext uri="{FF2B5EF4-FFF2-40B4-BE49-F238E27FC236}">
                <a16:creationId xmlns:a16="http://schemas.microsoft.com/office/drawing/2014/main" id="{3C06B452-FDAF-D86B-6BD7-E73AF936E37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162466" y="1345688"/>
            <a:ext cx="2034818" cy="634707"/>
          </a:xfrm>
        </p:spPr>
        <p:txBody>
          <a:bodyPr/>
          <a:lstStyle>
            <a:lvl1pPr>
              <a:defRPr sz="1400">
                <a:latin typeface="Syne Medium" pitchFamily="2" charset="77"/>
              </a:defRPr>
            </a:lvl1pPr>
          </a:lstStyle>
          <a:p>
            <a:endParaRPr lang="en-GB" dirty="0"/>
          </a:p>
        </p:txBody>
      </p:sp>
      <p:sp>
        <p:nvSpPr>
          <p:cNvPr id="56" name="Picture Placeholder 55">
            <a:extLst>
              <a:ext uri="{FF2B5EF4-FFF2-40B4-BE49-F238E27FC236}">
                <a16:creationId xmlns:a16="http://schemas.microsoft.com/office/drawing/2014/main" id="{D48E854E-1B20-E3F8-F54D-42E9FFB05591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1711875" y="2184751"/>
            <a:ext cx="936000" cy="936000"/>
          </a:xfrm>
          <a:prstGeom prst="ellipse">
            <a:avLst/>
          </a:prstGeom>
          <a:ln w="19050">
            <a:gradFill>
              <a:gsLst>
                <a:gs pos="0">
                  <a:schemeClr val="accent1"/>
                </a:gs>
                <a:gs pos="100000">
                  <a:schemeClr val="tx1"/>
                </a:gs>
              </a:gsLst>
              <a:lin ang="10800000" scaled="0"/>
            </a:gradFill>
          </a:ln>
        </p:spPr>
        <p:txBody>
          <a:bodyPr/>
          <a:lstStyle>
            <a:lvl1pPr>
              <a:defRPr sz="1400">
                <a:latin typeface="Syne Medium" pitchFamily="2" charset="77"/>
              </a:defRPr>
            </a:lvl1pPr>
          </a:lstStyle>
          <a:p>
            <a:endParaRPr lang="en-GB" dirty="0"/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349C5E53-EB77-F5E2-0BA7-73EFD199F22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62466" y="3325107"/>
            <a:ext cx="2034819" cy="322262"/>
          </a:xfrm>
        </p:spPr>
        <p:txBody>
          <a:bodyPr/>
          <a:lstStyle>
            <a:lvl1pPr algn="ctr">
              <a:defRPr sz="1200" b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59" name="Text Placeholder 57">
            <a:extLst>
              <a:ext uri="{FF2B5EF4-FFF2-40B4-BE49-F238E27FC236}">
                <a16:creationId xmlns:a16="http://schemas.microsoft.com/office/drawing/2014/main" id="{BE2584FB-3E65-AFD4-73D3-C37D5D76542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162466" y="3851725"/>
            <a:ext cx="2034819" cy="322262"/>
          </a:xfrm>
        </p:spPr>
        <p:txBody>
          <a:bodyPr/>
          <a:lstStyle>
            <a:lvl1pPr algn="ctr">
              <a:defRPr sz="1000" b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60" name="Text Placeholder 57">
            <a:extLst>
              <a:ext uri="{FF2B5EF4-FFF2-40B4-BE49-F238E27FC236}">
                <a16:creationId xmlns:a16="http://schemas.microsoft.com/office/drawing/2014/main" id="{DC94E39E-41B7-0017-1EBF-C59EA91EB7D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162466" y="4378343"/>
            <a:ext cx="2034819" cy="322262"/>
          </a:xfrm>
        </p:spPr>
        <p:txBody>
          <a:bodyPr/>
          <a:lstStyle>
            <a:lvl1pPr algn="ctr">
              <a:defRPr sz="1000" b="0" i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61" name="Text Placeholder 57">
            <a:extLst>
              <a:ext uri="{FF2B5EF4-FFF2-40B4-BE49-F238E27FC236}">
                <a16:creationId xmlns:a16="http://schemas.microsoft.com/office/drawing/2014/main" id="{9A214870-7DB1-734B-AD7D-8518D94D694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162466" y="4904962"/>
            <a:ext cx="2034819" cy="1546513"/>
          </a:xfrm>
        </p:spPr>
        <p:txBody>
          <a:bodyPr vert="horz" lIns="0" tIns="0" rIns="0" bIns="0" rtlCol="0">
            <a:noAutofit/>
          </a:bodyPr>
          <a:lstStyle>
            <a:lvl1pPr algn="ctr">
              <a:defRPr lang="en-GB" sz="1000" b="0" i="1" dirty="0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 algn="ctr"/>
            <a:endParaRPr lang="en-GB" dirty="0"/>
          </a:p>
        </p:txBody>
      </p:sp>
      <p:sp>
        <p:nvSpPr>
          <p:cNvPr id="80" name="Picture Placeholder 53">
            <a:extLst>
              <a:ext uri="{FF2B5EF4-FFF2-40B4-BE49-F238E27FC236}">
                <a16:creationId xmlns:a16="http://schemas.microsoft.com/office/drawing/2014/main" id="{EABEA1BE-058F-FD49-B361-3093EA4429B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640475" y="1345229"/>
            <a:ext cx="2034818" cy="634707"/>
          </a:xfrm>
        </p:spPr>
        <p:txBody>
          <a:bodyPr/>
          <a:lstStyle>
            <a:lvl1pPr>
              <a:defRPr sz="1400">
                <a:latin typeface="Syne Medium" pitchFamily="2" charset="77"/>
              </a:defRPr>
            </a:lvl1pPr>
          </a:lstStyle>
          <a:p>
            <a:endParaRPr lang="en-GB" dirty="0"/>
          </a:p>
        </p:txBody>
      </p:sp>
      <p:sp>
        <p:nvSpPr>
          <p:cNvPr id="81" name="Picture Placeholder 55">
            <a:extLst>
              <a:ext uri="{FF2B5EF4-FFF2-40B4-BE49-F238E27FC236}">
                <a16:creationId xmlns:a16="http://schemas.microsoft.com/office/drawing/2014/main" id="{80A43166-E1A7-1784-5BF6-4665F13C5BA1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4189884" y="2184292"/>
            <a:ext cx="936000" cy="936000"/>
          </a:xfrm>
          <a:prstGeom prst="ellipse">
            <a:avLst/>
          </a:prstGeom>
          <a:ln w="19050">
            <a:gradFill>
              <a:gsLst>
                <a:gs pos="0">
                  <a:schemeClr val="accent1"/>
                </a:gs>
                <a:gs pos="100000">
                  <a:schemeClr val="tx1"/>
                </a:gs>
              </a:gsLst>
              <a:lin ang="10800000" scaled="0"/>
            </a:gradFill>
          </a:ln>
        </p:spPr>
        <p:txBody>
          <a:bodyPr/>
          <a:lstStyle>
            <a:lvl1pPr>
              <a:defRPr sz="1400">
                <a:latin typeface="Syne Medium" pitchFamily="2" charset="77"/>
              </a:defRPr>
            </a:lvl1pPr>
          </a:lstStyle>
          <a:p>
            <a:endParaRPr lang="en-GB" dirty="0"/>
          </a:p>
        </p:txBody>
      </p:sp>
      <p:sp>
        <p:nvSpPr>
          <p:cNvPr id="82" name="Text Placeholder 57">
            <a:extLst>
              <a:ext uri="{FF2B5EF4-FFF2-40B4-BE49-F238E27FC236}">
                <a16:creationId xmlns:a16="http://schemas.microsoft.com/office/drawing/2014/main" id="{5D556FF6-367B-3F5C-096C-9CA12AB85EB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640475" y="3324648"/>
            <a:ext cx="2034819" cy="322262"/>
          </a:xfrm>
        </p:spPr>
        <p:txBody>
          <a:bodyPr/>
          <a:lstStyle>
            <a:lvl1pPr algn="ctr">
              <a:defRPr sz="1200" b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83" name="Text Placeholder 57">
            <a:extLst>
              <a:ext uri="{FF2B5EF4-FFF2-40B4-BE49-F238E27FC236}">
                <a16:creationId xmlns:a16="http://schemas.microsoft.com/office/drawing/2014/main" id="{AA82D807-960A-F3F7-55C5-A8A3A2CE517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640475" y="3851266"/>
            <a:ext cx="2034819" cy="322262"/>
          </a:xfrm>
        </p:spPr>
        <p:txBody>
          <a:bodyPr/>
          <a:lstStyle>
            <a:lvl1pPr algn="ctr">
              <a:defRPr sz="1000" b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84" name="Text Placeholder 57">
            <a:extLst>
              <a:ext uri="{FF2B5EF4-FFF2-40B4-BE49-F238E27FC236}">
                <a16:creationId xmlns:a16="http://schemas.microsoft.com/office/drawing/2014/main" id="{78BB0CD6-0013-88B0-FA87-E7BBFAA3D45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40475" y="4377884"/>
            <a:ext cx="2034819" cy="322262"/>
          </a:xfrm>
        </p:spPr>
        <p:txBody>
          <a:bodyPr/>
          <a:lstStyle>
            <a:lvl1pPr algn="ctr">
              <a:defRPr sz="1000" b="0" i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85" name="Text Placeholder 57">
            <a:extLst>
              <a:ext uri="{FF2B5EF4-FFF2-40B4-BE49-F238E27FC236}">
                <a16:creationId xmlns:a16="http://schemas.microsoft.com/office/drawing/2014/main" id="{68D505BF-72C8-2BC3-0B6B-180C55126D8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640475" y="4904503"/>
            <a:ext cx="2034819" cy="1546513"/>
          </a:xfrm>
        </p:spPr>
        <p:txBody>
          <a:bodyPr vert="horz" lIns="0" tIns="0" rIns="0" bIns="0" rtlCol="0">
            <a:noAutofit/>
          </a:bodyPr>
          <a:lstStyle>
            <a:lvl1pPr algn="l">
              <a:defRPr lang="en-GB" sz="1000" b="0" i="1" dirty="0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 algn="ctr"/>
            <a:endParaRPr lang="en-GB" dirty="0"/>
          </a:p>
        </p:txBody>
      </p:sp>
      <p:sp>
        <p:nvSpPr>
          <p:cNvPr id="86" name="Picture Placeholder 53">
            <a:extLst>
              <a:ext uri="{FF2B5EF4-FFF2-40B4-BE49-F238E27FC236}">
                <a16:creationId xmlns:a16="http://schemas.microsoft.com/office/drawing/2014/main" id="{F252EAEB-7166-C984-F35F-F01DE18E31B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163958" y="1345229"/>
            <a:ext cx="2034818" cy="634707"/>
          </a:xfrm>
        </p:spPr>
        <p:txBody>
          <a:bodyPr/>
          <a:lstStyle>
            <a:lvl1pPr>
              <a:defRPr sz="1400">
                <a:latin typeface="Syne Medium" pitchFamily="2" charset="77"/>
              </a:defRPr>
            </a:lvl1pPr>
          </a:lstStyle>
          <a:p>
            <a:endParaRPr lang="en-GB" dirty="0"/>
          </a:p>
        </p:txBody>
      </p:sp>
      <p:sp>
        <p:nvSpPr>
          <p:cNvPr id="87" name="Picture Placeholder 55">
            <a:extLst>
              <a:ext uri="{FF2B5EF4-FFF2-40B4-BE49-F238E27FC236}">
                <a16:creationId xmlns:a16="http://schemas.microsoft.com/office/drawing/2014/main" id="{744BED48-9649-DB2D-3754-1CDD3A0B43E5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6713367" y="2184292"/>
            <a:ext cx="936000" cy="936000"/>
          </a:xfrm>
          <a:prstGeom prst="ellipse">
            <a:avLst/>
          </a:prstGeom>
          <a:ln w="19050">
            <a:gradFill>
              <a:gsLst>
                <a:gs pos="0">
                  <a:schemeClr val="accent1"/>
                </a:gs>
                <a:gs pos="100000">
                  <a:schemeClr val="tx1"/>
                </a:gs>
              </a:gsLst>
              <a:lin ang="10800000" scaled="0"/>
            </a:gradFill>
          </a:ln>
        </p:spPr>
        <p:txBody>
          <a:bodyPr/>
          <a:lstStyle>
            <a:lvl1pPr>
              <a:defRPr sz="1400">
                <a:latin typeface="Syne Medium" pitchFamily="2" charset="77"/>
              </a:defRPr>
            </a:lvl1pPr>
          </a:lstStyle>
          <a:p>
            <a:endParaRPr lang="en-GB" dirty="0"/>
          </a:p>
        </p:txBody>
      </p:sp>
      <p:sp>
        <p:nvSpPr>
          <p:cNvPr id="88" name="Text Placeholder 57">
            <a:extLst>
              <a:ext uri="{FF2B5EF4-FFF2-40B4-BE49-F238E27FC236}">
                <a16:creationId xmlns:a16="http://schemas.microsoft.com/office/drawing/2014/main" id="{579C149A-B09C-1F06-1706-6FE2906B628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163958" y="3324648"/>
            <a:ext cx="2034819" cy="322262"/>
          </a:xfrm>
        </p:spPr>
        <p:txBody>
          <a:bodyPr/>
          <a:lstStyle>
            <a:lvl1pPr algn="ctr">
              <a:defRPr sz="1200" b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89" name="Text Placeholder 57">
            <a:extLst>
              <a:ext uri="{FF2B5EF4-FFF2-40B4-BE49-F238E27FC236}">
                <a16:creationId xmlns:a16="http://schemas.microsoft.com/office/drawing/2014/main" id="{64B0270F-652F-B15E-C3AB-EF001B8974A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63958" y="3851266"/>
            <a:ext cx="2034819" cy="322262"/>
          </a:xfrm>
        </p:spPr>
        <p:txBody>
          <a:bodyPr/>
          <a:lstStyle>
            <a:lvl1pPr algn="ctr">
              <a:defRPr sz="1000" b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90" name="Text Placeholder 57">
            <a:extLst>
              <a:ext uri="{FF2B5EF4-FFF2-40B4-BE49-F238E27FC236}">
                <a16:creationId xmlns:a16="http://schemas.microsoft.com/office/drawing/2014/main" id="{1FE3AB39-D70A-0E03-FF35-2DE11AAAF7E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63958" y="4377884"/>
            <a:ext cx="2034819" cy="322262"/>
          </a:xfrm>
        </p:spPr>
        <p:txBody>
          <a:bodyPr/>
          <a:lstStyle>
            <a:lvl1pPr algn="ctr">
              <a:defRPr sz="1000" b="0" i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91" name="Text Placeholder 57">
            <a:extLst>
              <a:ext uri="{FF2B5EF4-FFF2-40B4-BE49-F238E27FC236}">
                <a16:creationId xmlns:a16="http://schemas.microsoft.com/office/drawing/2014/main" id="{AFB1EF0D-3D3A-143A-0CE3-80CE413167B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163958" y="4904503"/>
            <a:ext cx="2034819" cy="1546513"/>
          </a:xfrm>
        </p:spPr>
        <p:txBody>
          <a:bodyPr vert="horz" lIns="0" tIns="0" rIns="0" bIns="0" rtlCol="0">
            <a:noAutofit/>
          </a:bodyPr>
          <a:lstStyle>
            <a:lvl1pPr algn="l">
              <a:defRPr lang="en-GB" sz="1000" b="0" i="1" dirty="0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 algn="ctr"/>
            <a:endParaRPr lang="en-GB" dirty="0"/>
          </a:p>
        </p:txBody>
      </p:sp>
      <p:sp>
        <p:nvSpPr>
          <p:cNvPr id="92" name="Picture Placeholder 53">
            <a:extLst>
              <a:ext uri="{FF2B5EF4-FFF2-40B4-BE49-F238E27FC236}">
                <a16:creationId xmlns:a16="http://schemas.microsoft.com/office/drawing/2014/main" id="{3DA5E434-8A9E-A084-2322-7CAADEA100C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8641967" y="1344770"/>
            <a:ext cx="2034818" cy="634707"/>
          </a:xfrm>
        </p:spPr>
        <p:txBody>
          <a:bodyPr/>
          <a:lstStyle>
            <a:lvl1pPr>
              <a:defRPr sz="1400">
                <a:latin typeface="Syne Medium" pitchFamily="2" charset="77"/>
              </a:defRPr>
            </a:lvl1pPr>
          </a:lstStyle>
          <a:p>
            <a:endParaRPr lang="en-GB" dirty="0"/>
          </a:p>
        </p:txBody>
      </p:sp>
      <p:sp>
        <p:nvSpPr>
          <p:cNvPr id="93" name="Picture Placeholder 55">
            <a:extLst>
              <a:ext uri="{FF2B5EF4-FFF2-40B4-BE49-F238E27FC236}">
                <a16:creationId xmlns:a16="http://schemas.microsoft.com/office/drawing/2014/main" id="{70043325-B7BC-EB57-6E6F-FEA6B8C40497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191376" y="2183833"/>
            <a:ext cx="936000" cy="936000"/>
          </a:xfrm>
          <a:prstGeom prst="ellipse">
            <a:avLst/>
          </a:prstGeom>
          <a:ln w="19050">
            <a:gradFill>
              <a:gsLst>
                <a:gs pos="0">
                  <a:schemeClr val="accent1"/>
                </a:gs>
                <a:gs pos="100000">
                  <a:schemeClr val="tx1"/>
                </a:gs>
              </a:gsLst>
              <a:lin ang="10800000" scaled="0"/>
            </a:gradFill>
          </a:ln>
        </p:spPr>
        <p:txBody>
          <a:bodyPr/>
          <a:lstStyle>
            <a:lvl1pPr>
              <a:defRPr sz="1400">
                <a:latin typeface="Syne Medium" pitchFamily="2" charset="77"/>
              </a:defRPr>
            </a:lvl1pPr>
          </a:lstStyle>
          <a:p>
            <a:endParaRPr lang="en-GB" dirty="0"/>
          </a:p>
        </p:txBody>
      </p:sp>
      <p:sp>
        <p:nvSpPr>
          <p:cNvPr id="94" name="Text Placeholder 57">
            <a:extLst>
              <a:ext uri="{FF2B5EF4-FFF2-40B4-BE49-F238E27FC236}">
                <a16:creationId xmlns:a16="http://schemas.microsoft.com/office/drawing/2014/main" id="{EEA5B6D6-E0B6-0EB9-0A98-E9D3D6934C5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641967" y="3324189"/>
            <a:ext cx="2034819" cy="322262"/>
          </a:xfrm>
        </p:spPr>
        <p:txBody>
          <a:bodyPr/>
          <a:lstStyle>
            <a:lvl1pPr algn="ctr">
              <a:defRPr sz="1200" b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95" name="Text Placeholder 57">
            <a:extLst>
              <a:ext uri="{FF2B5EF4-FFF2-40B4-BE49-F238E27FC236}">
                <a16:creationId xmlns:a16="http://schemas.microsoft.com/office/drawing/2014/main" id="{233074F0-AE4B-12DB-E5DC-657EA4AF148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641967" y="3850807"/>
            <a:ext cx="2034819" cy="322262"/>
          </a:xfrm>
        </p:spPr>
        <p:txBody>
          <a:bodyPr/>
          <a:lstStyle>
            <a:lvl1pPr algn="ctr">
              <a:defRPr sz="1000" b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96" name="Text Placeholder 57">
            <a:extLst>
              <a:ext uri="{FF2B5EF4-FFF2-40B4-BE49-F238E27FC236}">
                <a16:creationId xmlns:a16="http://schemas.microsoft.com/office/drawing/2014/main" id="{CE63821A-F0B1-ED97-317E-19E83D0622BA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641967" y="4377425"/>
            <a:ext cx="2034819" cy="322262"/>
          </a:xfrm>
        </p:spPr>
        <p:txBody>
          <a:bodyPr/>
          <a:lstStyle>
            <a:lvl1pPr algn="ctr">
              <a:defRPr sz="1000" b="0" i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97" name="Text Placeholder 57">
            <a:extLst>
              <a:ext uri="{FF2B5EF4-FFF2-40B4-BE49-F238E27FC236}">
                <a16:creationId xmlns:a16="http://schemas.microsoft.com/office/drawing/2014/main" id="{D210960C-550A-21F3-B84A-F3383559EC3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641967" y="4904044"/>
            <a:ext cx="2034819" cy="1546513"/>
          </a:xfrm>
        </p:spPr>
        <p:txBody>
          <a:bodyPr vert="horz" lIns="0" tIns="0" rIns="0" bIns="0" rtlCol="0">
            <a:noAutofit/>
          </a:bodyPr>
          <a:lstStyle>
            <a:lvl1pPr algn="l">
              <a:defRPr lang="en-GB" sz="1000" b="0" i="1" dirty="0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12460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ebook-slide-dens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F842A3C-353B-FE3A-A815-14472472E7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288816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842A3C-353B-FE3A-A815-14472472E7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479DDFFC-8F3D-7EF4-3DDF-1D000849786F}"/>
              </a:ext>
            </a:extLst>
          </p:cNvPr>
          <p:cNvSpPr/>
          <p:nvPr userDrawn="1"/>
        </p:nvSpPr>
        <p:spPr>
          <a:xfrm>
            <a:off x="8559649" y="1093308"/>
            <a:ext cx="2232000" cy="2639169"/>
          </a:xfrm>
          <a:prstGeom prst="roundRect">
            <a:avLst>
              <a:gd name="adj" fmla="val 6667"/>
            </a:avLst>
          </a:prstGeom>
          <a:solidFill>
            <a:srgbClr val="FAFAF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B18AB260-538D-5996-9C98-B1CB2CE26A2A}"/>
              </a:ext>
            </a:extLst>
          </p:cNvPr>
          <p:cNvSpPr/>
          <p:nvPr userDrawn="1"/>
        </p:nvSpPr>
        <p:spPr>
          <a:xfrm>
            <a:off x="6065367" y="1093308"/>
            <a:ext cx="2232000" cy="2639169"/>
          </a:xfrm>
          <a:prstGeom prst="roundRect">
            <a:avLst>
              <a:gd name="adj" fmla="val 6667"/>
            </a:avLst>
          </a:prstGeom>
          <a:solidFill>
            <a:srgbClr val="FAFAF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16ECDCA-DB53-0D1C-FB25-1CB6C087B5FE}"/>
              </a:ext>
            </a:extLst>
          </p:cNvPr>
          <p:cNvSpPr/>
          <p:nvPr userDrawn="1"/>
        </p:nvSpPr>
        <p:spPr>
          <a:xfrm>
            <a:off x="3557306" y="1093308"/>
            <a:ext cx="2232000" cy="2639169"/>
          </a:xfrm>
          <a:prstGeom prst="roundRect">
            <a:avLst>
              <a:gd name="adj" fmla="val 6667"/>
            </a:avLst>
          </a:prstGeom>
          <a:solidFill>
            <a:srgbClr val="FAFAF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Graphique 5">
            <a:extLst>
              <a:ext uri="{FF2B5EF4-FFF2-40B4-BE49-F238E27FC236}">
                <a16:creationId xmlns:a16="http://schemas.microsoft.com/office/drawing/2014/main" id="{558C791F-10EC-105F-7E27-69B87D5AA1C0}"/>
              </a:ext>
            </a:extLst>
          </p:cNvPr>
          <p:cNvSpPr/>
          <p:nvPr/>
        </p:nvSpPr>
        <p:spPr>
          <a:xfrm>
            <a:off x="480650" y="0"/>
            <a:ext cx="2432535" cy="2639169"/>
          </a:xfrm>
          <a:custGeom>
            <a:avLst/>
            <a:gdLst>
              <a:gd name="connsiteX0" fmla="*/ 1546789 w 3046100"/>
              <a:gd name="connsiteY0" fmla="*/ 0 h 3304854"/>
              <a:gd name="connsiteX1" fmla="*/ 0 w 3046100"/>
              <a:gd name="connsiteY1" fmla="*/ 3304855 h 3304854"/>
              <a:gd name="connsiteX2" fmla="*/ 1499312 w 3046100"/>
              <a:gd name="connsiteY2" fmla="*/ 3304855 h 3304854"/>
              <a:gd name="connsiteX3" fmla="*/ 3046101 w 3046100"/>
              <a:gd name="connsiteY3" fmla="*/ 0 h 330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6100" h="3304854">
                <a:moveTo>
                  <a:pt x="1546789" y="0"/>
                </a:moveTo>
                <a:lnTo>
                  <a:pt x="0" y="3304855"/>
                </a:lnTo>
                <a:lnTo>
                  <a:pt x="1499312" y="3304855"/>
                </a:lnTo>
                <a:lnTo>
                  <a:pt x="3046101" y="0"/>
                </a:lnTo>
                <a:close/>
              </a:path>
            </a:pathLst>
          </a:custGeom>
          <a:solidFill>
            <a:schemeClr val="bg2"/>
          </a:solidFill>
          <a:ln w="9495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96793B0-EE1C-D52F-FB50-0BB35E1CACFB}"/>
              </a:ext>
            </a:extLst>
          </p:cNvPr>
          <p:cNvSpPr/>
          <p:nvPr userDrawn="1"/>
        </p:nvSpPr>
        <p:spPr>
          <a:xfrm>
            <a:off x="1072523" y="1093308"/>
            <a:ext cx="2232000" cy="2639169"/>
          </a:xfrm>
          <a:prstGeom prst="roundRect">
            <a:avLst>
              <a:gd name="adj" fmla="val 6667"/>
            </a:avLst>
          </a:prstGeom>
          <a:solidFill>
            <a:srgbClr val="FAFAF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5F731B6-E27A-E96D-BDBA-A2A194EEF4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69756"/>
            <a:ext cx="10515600" cy="634707"/>
          </a:xfrm>
        </p:spPr>
        <p:txBody>
          <a:bodyPr vert="horz"/>
          <a:lstStyle>
            <a:lvl1pPr>
              <a:defRPr>
                <a:latin typeface="Syne Medium" pitchFamily="2" charset="77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C821AAE-B262-3441-2744-FA0ED8B4BB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39866C2-A242-5F42-9BF9-B1A825A27D54}" type="slidenum">
              <a:rPr lang="fr-FR" smtClean="0"/>
              <a:pPr/>
              <a:t>‹#›</a:t>
            </a:fld>
            <a:endParaRPr lang="fr-FR" dirty="0"/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54DAD5EB-AC9F-6B9C-E9F9-776034E8CF4E}"/>
              </a:ext>
            </a:extLst>
          </p:cNvPr>
          <p:cNvCxnSpPr>
            <a:cxnSpLocks/>
          </p:cNvCxnSpPr>
          <p:nvPr userDrawn="1"/>
        </p:nvCxnSpPr>
        <p:spPr>
          <a:xfrm>
            <a:off x="11558257" y="5934075"/>
            <a:ext cx="0" cy="29164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que 10">
            <a:extLst>
              <a:ext uri="{FF2B5EF4-FFF2-40B4-BE49-F238E27FC236}">
                <a16:creationId xmlns:a16="http://schemas.microsoft.com/office/drawing/2014/main" id="{16BA8374-3698-BC77-BFB9-F10EE55D24E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305514" y="377563"/>
            <a:ext cx="505486" cy="221704"/>
          </a:xfrm>
          <a:prstGeom prst="rect">
            <a:avLst/>
          </a:prstGeom>
        </p:spPr>
      </p:pic>
      <p:sp>
        <p:nvSpPr>
          <p:cNvPr id="56" name="Picture Placeholder 55">
            <a:extLst>
              <a:ext uri="{FF2B5EF4-FFF2-40B4-BE49-F238E27FC236}">
                <a16:creationId xmlns:a16="http://schemas.microsoft.com/office/drawing/2014/main" id="{D48E854E-1B20-E3F8-F54D-42E9FFB05591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1754421" y="1203568"/>
            <a:ext cx="850909" cy="850909"/>
          </a:xfrm>
          <a:prstGeom prst="ellipse">
            <a:avLst/>
          </a:prstGeom>
          <a:ln w="19050">
            <a:gradFill>
              <a:gsLst>
                <a:gs pos="0">
                  <a:schemeClr val="accent1"/>
                </a:gs>
                <a:gs pos="100000">
                  <a:schemeClr val="tx1"/>
                </a:gs>
              </a:gsLst>
              <a:lin ang="10800000" scaled="0"/>
            </a:gradFill>
          </a:ln>
        </p:spPr>
        <p:txBody>
          <a:bodyPr/>
          <a:lstStyle>
            <a:lvl1pPr>
              <a:defRPr sz="1400">
                <a:latin typeface="Syne Medium" pitchFamily="2" charset="77"/>
              </a:defRPr>
            </a:lvl1pPr>
          </a:lstStyle>
          <a:p>
            <a:endParaRPr lang="en-GB" dirty="0"/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349C5E53-EB77-F5E2-0BA7-73EFD199F22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62466" y="2172171"/>
            <a:ext cx="2034819" cy="322262"/>
          </a:xfrm>
        </p:spPr>
        <p:txBody>
          <a:bodyPr/>
          <a:lstStyle>
            <a:lvl1pPr algn="ctr">
              <a:defRPr sz="1200" b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59" name="Text Placeholder 57">
            <a:extLst>
              <a:ext uri="{FF2B5EF4-FFF2-40B4-BE49-F238E27FC236}">
                <a16:creationId xmlns:a16="http://schemas.microsoft.com/office/drawing/2014/main" id="{BE2584FB-3E65-AFD4-73D3-C37D5D76542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162466" y="2549704"/>
            <a:ext cx="2034819" cy="322262"/>
          </a:xfrm>
        </p:spPr>
        <p:txBody>
          <a:bodyPr/>
          <a:lstStyle>
            <a:lvl1pPr algn="ctr">
              <a:defRPr sz="1000" b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60" name="Text Placeholder 57">
            <a:extLst>
              <a:ext uri="{FF2B5EF4-FFF2-40B4-BE49-F238E27FC236}">
                <a16:creationId xmlns:a16="http://schemas.microsoft.com/office/drawing/2014/main" id="{DC94E39E-41B7-0017-1EBF-C59EA91EB7D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162466" y="2996810"/>
            <a:ext cx="2034819" cy="576486"/>
          </a:xfrm>
        </p:spPr>
        <p:txBody>
          <a:bodyPr/>
          <a:lstStyle>
            <a:lvl1pPr algn="ctr">
              <a:defRPr sz="1000" b="0" i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81" name="Picture Placeholder 55">
            <a:extLst>
              <a:ext uri="{FF2B5EF4-FFF2-40B4-BE49-F238E27FC236}">
                <a16:creationId xmlns:a16="http://schemas.microsoft.com/office/drawing/2014/main" id="{80A43166-E1A7-1784-5BF6-4665F13C5BA1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4232430" y="1203109"/>
            <a:ext cx="850909" cy="850909"/>
          </a:xfrm>
          <a:prstGeom prst="ellipse">
            <a:avLst/>
          </a:prstGeom>
          <a:ln w="19050">
            <a:gradFill>
              <a:gsLst>
                <a:gs pos="0">
                  <a:schemeClr val="accent1"/>
                </a:gs>
                <a:gs pos="100000">
                  <a:schemeClr val="tx1"/>
                </a:gs>
              </a:gsLst>
              <a:lin ang="10800000" scaled="0"/>
            </a:gradFill>
          </a:ln>
        </p:spPr>
        <p:txBody>
          <a:bodyPr/>
          <a:lstStyle>
            <a:lvl1pPr>
              <a:defRPr sz="1400">
                <a:latin typeface="Syne Medium" pitchFamily="2" charset="77"/>
              </a:defRPr>
            </a:lvl1pPr>
          </a:lstStyle>
          <a:p>
            <a:endParaRPr lang="en-GB" dirty="0"/>
          </a:p>
        </p:txBody>
      </p:sp>
      <p:sp>
        <p:nvSpPr>
          <p:cNvPr id="82" name="Text Placeholder 57">
            <a:extLst>
              <a:ext uri="{FF2B5EF4-FFF2-40B4-BE49-F238E27FC236}">
                <a16:creationId xmlns:a16="http://schemas.microsoft.com/office/drawing/2014/main" id="{5D556FF6-367B-3F5C-096C-9CA12AB85EB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640475" y="2171712"/>
            <a:ext cx="2034819" cy="322262"/>
          </a:xfrm>
        </p:spPr>
        <p:txBody>
          <a:bodyPr/>
          <a:lstStyle>
            <a:lvl1pPr algn="ctr">
              <a:defRPr sz="1200" b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83" name="Text Placeholder 57">
            <a:extLst>
              <a:ext uri="{FF2B5EF4-FFF2-40B4-BE49-F238E27FC236}">
                <a16:creationId xmlns:a16="http://schemas.microsoft.com/office/drawing/2014/main" id="{AA82D807-960A-F3F7-55C5-A8A3A2CE517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640475" y="2549245"/>
            <a:ext cx="2034819" cy="322262"/>
          </a:xfrm>
        </p:spPr>
        <p:txBody>
          <a:bodyPr/>
          <a:lstStyle>
            <a:lvl1pPr algn="ctr">
              <a:defRPr sz="1000" b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84" name="Text Placeholder 57">
            <a:extLst>
              <a:ext uri="{FF2B5EF4-FFF2-40B4-BE49-F238E27FC236}">
                <a16:creationId xmlns:a16="http://schemas.microsoft.com/office/drawing/2014/main" id="{78BB0CD6-0013-88B0-FA87-E7BBFAA3D45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40475" y="2996351"/>
            <a:ext cx="2034819" cy="576486"/>
          </a:xfrm>
        </p:spPr>
        <p:txBody>
          <a:bodyPr/>
          <a:lstStyle>
            <a:lvl1pPr algn="ctr">
              <a:defRPr sz="1000" b="0" i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87" name="Picture Placeholder 55">
            <a:extLst>
              <a:ext uri="{FF2B5EF4-FFF2-40B4-BE49-F238E27FC236}">
                <a16:creationId xmlns:a16="http://schemas.microsoft.com/office/drawing/2014/main" id="{744BED48-9649-DB2D-3754-1CDD3A0B43E5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6755913" y="1203109"/>
            <a:ext cx="850909" cy="850909"/>
          </a:xfrm>
          <a:prstGeom prst="ellipse">
            <a:avLst/>
          </a:prstGeom>
          <a:ln w="19050">
            <a:gradFill>
              <a:gsLst>
                <a:gs pos="0">
                  <a:schemeClr val="accent1"/>
                </a:gs>
                <a:gs pos="100000">
                  <a:schemeClr val="tx1"/>
                </a:gs>
              </a:gsLst>
              <a:lin ang="10800000" scaled="0"/>
            </a:gradFill>
          </a:ln>
        </p:spPr>
        <p:txBody>
          <a:bodyPr/>
          <a:lstStyle>
            <a:lvl1pPr>
              <a:defRPr sz="1400">
                <a:latin typeface="Syne Medium" pitchFamily="2" charset="77"/>
              </a:defRPr>
            </a:lvl1pPr>
          </a:lstStyle>
          <a:p>
            <a:endParaRPr lang="en-GB" dirty="0"/>
          </a:p>
        </p:txBody>
      </p:sp>
      <p:sp>
        <p:nvSpPr>
          <p:cNvPr id="88" name="Text Placeholder 57">
            <a:extLst>
              <a:ext uri="{FF2B5EF4-FFF2-40B4-BE49-F238E27FC236}">
                <a16:creationId xmlns:a16="http://schemas.microsoft.com/office/drawing/2014/main" id="{579C149A-B09C-1F06-1706-6FE2906B628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163958" y="2171712"/>
            <a:ext cx="2034819" cy="322262"/>
          </a:xfrm>
        </p:spPr>
        <p:txBody>
          <a:bodyPr/>
          <a:lstStyle>
            <a:lvl1pPr algn="ctr">
              <a:defRPr sz="1200" b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89" name="Text Placeholder 57">
            <a:extLst>
              <a:ext uri="{FF2B5EF4-FFF2-40B4-BE49-F238E27FC236}">
                <a16:creationId xmlns:a16="http://schemas.microsoft.com/office/drawing/2014/main" id="{64B0270F-652F-B15E-C3AB-EF001B8974A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63958" y="2549245"/>
            <a:ext cx="2034819" cy="322262"/>
          </a:xfrm>
        </p:spPr>
        <p:txBody>
          <a:bodyPr/>
          <a:lstStyle>
            <a:lvl1pPr algn="ctr">
              <a:defRPr sz="1000" b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90" name="Text Placeholder 57">
            <a:extLst>
              <a:ext uri="{FF2B5EF4-FFF2-40B4-BE49-F238E27FC236}">
                <a16:creationId xmlns:a16="http://schemas.microsoft.com/office/drawing/2014/main" id="{1FE3AB39-D70A-0E03-FF35-2DE11AAAF7E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63958" y="2996351"/>
            <a:ext cx="2034819" cy="576486"/>
          </a:xfrm>
        </p:spPr>
        <p:txBody>
          <a:bodyPr/>
          <a:lstStyle>
            <a:lvl1pPr algn="ctr">
              <a:defRPr sz="1000" b="0" i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93" name="Picture Placeholder 55">
            <a:extLst>
              <a:ext uri="{FF2B5EF4-FFF2-40B4-BE49-F238E27FC236}">
                <a16:creationId xmlns:a16="http://schemas.microsoft.com/office/drawing/2014/main" id="{70043325-B7BC-EB57-6E6F-FEA6B8C40497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33922" y="1202650"/>
            <a:ext cx="850909" cy="850909"/>
          </a:xfrm>
          <a:prstGeom prst="ellipse">
            <a:avLst/>
          </a:prstGeom>
          <a:ln w="19050">
            <a:gradFill>
              <a:gsLst>
                <a:gs pos="0">
                  <a:schemeClr val="accent1"/>
                </a:gs>
                <a:gs pos="100000">
                  <a:schemeClr val="tx1"/>
                </a:gs>
              </a:gsLst>
              <a:lin ang="10800000" scaled="0"/>
            </a:gradFill>
          </a:ln>
        </p:spPr>
        <p:txBody>
          <a:bodyPr/>
          <a:lstStyle>
            <a:lvl1pPr>
              <a:defRPr sz="1400">
                <a:latin typeface="Syne Medium" pitchFamily="2" charset="77"/>
              </a:defRPr>
            </a:lvl1pPr>
          </a:lstStyle>
          <a:p>
            <a:endParaRPr lang="en-GB" dirty="0"/>
          </a:p>
        </p:txBody>
      </p:sp>
      <p:sp>
        <p:nvSpPr>
          <p:cNvPr id="94" name="Text Placeholder 57">
            <a:extLst>
              <a:ext uri="{FF2B5EF4-FFF2-40B4-BE49-F238E27FC236}">
                <a16:creationId xmlns:a16="http://schemas.microsoft.com/office/drawing/2014/main" id="{EEA5B6D6-E0B6-0EB9-0A98-E9D3D6934C5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641967" y="2171253"/>
            <a:ext cx="2034819" cy="322262"/>
          </a:xfrm>
        </p:spPr>
        <p:txBody>
          <a:bodyPr/>
          <a:lstStyle>
            <a:lvl1pPr algn="ctr">
              <a:defRPr sz="1200" b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95" name="Text Placeholder 57">
            <a:extLst>
              <a:ext uri="{FF2B5EF4-FFF2-40B4-BE49-F238E27FC236}">
                <a16:creationId xmlns:a16="http://schemas.microsoft.com/office/drawing/2014/main" id="{233074F0-AE4B-12DB-E5DC-657EA4AF148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641967" y="2548786"/>
            <a:ext cx="2034819" cy="322262"/>
          </a:xfrm>
        </p:spPr>
        <p:txBody>
          <a:bodyPr/>
          <a:lstStyle>
            <a:lvl1pPr algn="ctr">
              <a:defRPr sz="1000" b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96" name="Text Placeholder 57">
            <a:extLst>
              <a:ext uri="{FF2B5EF4-FFF2-40B4-BE49-F238E27FC236}">
                <a16:creationId xmlns:a16="http://schemas.microsoft.com/office/drawing/2014/main" id="{CE63821A-F0B1-ED97-317E-19E83D0622BA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641967" y="2995892"/>
            <a:ext cx="2034819" cy="576486"/>
          </a:xfrm>
        </p:spPr>
        <p:txBody>
          <a:bodyPr/>
          <a:lstStyle>
            <a:lvl1pPr algn="ctr">
              <a:defRPr sz="1000" b="0" i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52" name="Rounded Rectangle 51">
            <a:extLst>
              <a:ext uri="{FF2B5EF4-FFF2-40B4-BE49-F238E27FC236}">
                <a16:creationId xmlns:a16="http://schemas.microsoft.com/office/drawing/2014/main" id="{B99B1042-5FFA-61E2-BBBF-450765A179EE}"/>
              </a:ext>
            </a:extLst>
          </p:cNvPr>
          <p:cNvSpPr/>
          <p:nvPr userDrawn="1"/>
        </p:nvSpPr>
        <p:spPr>
          <a:xfrm>
            <a:off x="8564115" y="3857321"/>
            <a:ext cx="2232000" cy="2639169"/>
          </a:xfrm>
          <a:prstGeom prst="roundRect">
            <a:avLst>
              <a:gd name="adj" fmla="val 6667"/>
            </a:avLst>
          </a:prstGeom>
          <a:solidFill>
            <a:srgbClr val="FAFAF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3" name="Rounded Rectangle 52">
            <a:extLst>
              <a:ext uri="{FF2B5EF4-FFF2-40B4-BE49-F238E27FC236}">
                <a16:creationId xmlns:a16="http://schemas.microsoft.com/office/drawing/2014/main" id="{23409A54-10BD-670E-5EDE-19A1DFDF7659}"/>
              </a:ext>
            </a:extLst>
          </p:cNvPr>
          <p:cNvSpPr/>
          <p:nvPr userDrawn="1"/>
        </p:nvSpPr>
        <p:spPr>
          <a:xfrm>
            <a:off x="6069833" y="3857321"/>
            <a:ext cx="2232000" cy="2639169"/>
          </a:xfrm>
          <a:prstGeom prst="roundRect">
            <a:avLst>
              <a:gd name="adj" fmla="val 6667"/>
            </a:avLst>
          </a:prstGeom>
          <a:solidFill>
            <a:srgbClr val="FAFAF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5" name="Rounded Rectangle 54">
            <a:extLst>
              <a:ext uri="{FF2B5EF4-FFF2-40B4-BE49-F238E27FC236}">
                <a16:creationId xmlns:a16="http://schemas.microsoft.com/office/drawing/2014/main" id="{61CA19EB-E8E0-5ED6-530C-C66C3D77D8FE}"/>
              </a:ext>
            </a:extLst>
          </p:cNvPr>
          <p:cNvSpPr/>
          <p:nvPr userDrawn="1"/>
        </p:nvSpPr>
        <p:spPr>
          <a:xfrm>
            <a:off x="3561772" y="3857321"/>
            <a:ext cx="2232000" cy="2639169"/>
          </a:xfrm>
          <a:prstGeom prst="roundRect">
            <a:avLst>
              <a:gd name="adj" fmla="val 6667"/>
            </a:avLst>
          </a:prstGeom>
          <a:solidFill>
            <a:srgbClr val="FAFAF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" name="Rounded Rectangle 56">
            <a:extLst>
              <a:ext uri="{FF2B5EF4-FFF2-40B4-BE49-F238E27FC236}">
                <a16:creationId xmlns:a16="http://schemas.microsoft.com/office/drawing/2014/main" id="{1FCA0D22-B2A7-56DF-5B23-54A8F2663EA0}"/>
              </a:ext>
            </a:extLst>
          </p:cNvPr>
          <p:cNvSpPr/>
          <p:nvPr userDrawn="1"/>
        </p:nvSpPr>
        <p:spPr>
          <a:xfrm>
            <a:off x="1076989" y="3857321"/>
            <a:ext cx="2232000" cy="2639169"/>
          </a:xfrm>
          <a:prstGeom prst="roundRect">
            <a:avLst>
              <a:gd name="adj" fmla="val 6667"/>
            </a:avLst>
          </a:prstGeom>
          <a:solidFill>
            <a:srgbClr val="FAFAF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2" name="Picture Placeholder 55">
            <a:extLst>
              <a:ext uri="{FF2B5EF4-FFF2-40B4-BE49-F238E27FC236}">
                <a16:creationId xmlns:a16="http://schemas.microsoft.com/office/drawing/2014/main" id="{52CDA884-025B-E95A-4070-397923DCE832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1758887" y="3967581"/>
            <a:ext cx="850909" cy="850909"/>
          </a:xfrm>
          <a:prstGeom prst="ellipse">
            <a:avLst/>
          </a:prstGeom>
          <a:ln w="19050">
            <a:gradFill>
              <a:gsLst>
                <a:gs pos="0">
                  <a:schemeClr val="accent1"/>
                </a:gs>
                <a:gs pos="100000">
                  <a:schemeClr val="tx1"/>
                </a:gs>
              </a:gsLst>
              <a:lin ang="10800000" scaled="0"/>
            </a:gradFill>
          </a:ln>
        </p:spPr>
        <p:txBody>
          <a:bodyPr/>
          <a:lstStyle>
            <a:lvl1pPr>
              <a:defRPr sz="1400">
                <a:latin typeface="Syne Medium" pitchFamily="2" charset="77"/>
              </a:defRPr>
            </a:lvl1pPr>
          </a:lstStyle>
          <a:p>
            <a:endParaRPr lang="en-GB" dirty="0"/>
          </a:p>
        </p:txBody>
      </p:sp>
      <p:sp>
        <p:nvSpPr>
          <p:cNvPr id="63" name="Text Placeholder 57">
            <a:extLst>
              <a:ext uri="{FF2B5EF4-FFF2-40B4-BE49-F238E27FC236}">
                <a16:creationId xmlns:a16="http://schemas.microsoft.com/office/drawing/2014/main" id="{AA72ACB6-EE6B-66E8-D98C-CCF8D2AE5B5A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166932" y="4936184"/>
            <a:ext cx="2034819" cy="322262"/>
          </a:xfrm>
        </p:spPr>
        <p:txBody>
          <a:bodyPr/>
          <a:lstStyle>
            <a:lvl1pPr algn="ctr">
              <a:defRPr sz="1200" b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64" name="Text Placeholder 57">
            <a:extLst>
              <a:ext uri="{FF2B5EF4-FFF2-40B4-BE49-F238E27FC236}">
                <a16:creationId xmlns:a16="http://schemas.microsoft.com/office/drawing/2014/main" id="{328F4C13-55B6-DA1A-396F-1882FB85C42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166932" y="5313717"/>
            <a:ext cx="2034819" cy="322262"/>
          </a:xfrm>
        </p:spPr>
        <p:txBody>
          <a:bodyPr/>
          <a:lstStyle>
            <a:lvl1pPr algn="ctr">
              <a:defRPr sz="1000" b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65" name="Text Placeholder 57">
            <a:extLst>
              <a:ext uri="{FF2B5EF4-FFF2-40B4-BE49-F238E27FC236}">
                <a16:creationId xmlns:a16="http://schemas.microsoft.com/office/drawing/2014/main" id="{0DB39C65-229C-DFF6-5FAD-98CED453226B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166932" y="5760823"/>
            <a:ext cx="2034819" cy="576486"/>
          </a:xfrm>
        </p:spPr>
        <p:txBody>
          <a:bodyPr/>
          <a:lstStyle>
            <a:lvl1pPr algn="ctr">
              <a:defRPr sz="1000" b="0" i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66" name="Picture Placeholder 55">
            <a:extLst>
              <a:ext uri="{FF2B5EF4-FFF2-40B4-BE49-F238E27FC236}">
                <a16:creationId xmlns:a16="http://schemas.microsoft.com/office/drawing/2014/main" id="{7D84DC1E-C892-6C1D-A0C2-90456A0F795B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4236896" y="3967122"/>
            <a:ext cx="850909" cy="850909"/>
          </a:xfrm>
          <a:prstGeom prst="ellipse">
            <a:avLst/>
          </a:prstGeom>
          <a:ln w="19050">
            <a:gradFill>
              <a:gsLst>
                <a:gs pos="0">
                  <a:schemeClr val="accent1"/>
                </a:gs>
                <a:gs pos="100000">
                  <a:schemeClr val="tx1"/>
                </a:gs>
              </a:gsLst>
              <a:lin ang="10800000" scaled="0"/>
            </a:gradFill>
          </a:ln>
        </p:spPr>
        <p:txBody>
          <a:bodyPr/>
          <a:lstStyle>
            <a:lvl1pPr>
              <a:defRPr sz="1400">
                <a:latin typeface="Syne Medium" pitchFamily="2" charset="77"/>
              </a:defRPr>
            </a:lvl1pPr>
          </a:lstStyle>
          <a:p>
            <a:endParaRPr lang="en-GB" dirty="0"/>
          </a:p>
        </p:txBody>
      </p:sp>
      <p:sp>
        <p:nvSpPr>
          <p:cNvPr id="67" name="Text Placeholder 57">
            <a:extLst>
              <a:ext uri="{FF2B5EF4-FFF2-40B4-BE49-F238E27FC236}">
                <a16:creationId xmlns:a16="http://schemas.microsoft.com/office/drawing/2014/main" id="{6D7289D5-57F7-49DD-9EDB-56C6436506A3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644941" y="4935725"/>
            <a:ext cx="2034819" cy="322262"/>
          </a:xfrm>
        </p:spPr>
        <p:txBody>
          <a:bodyPr/>
          <a:lstStyle>
            <a:lvl1pPr algn="ctr">
              <a:defRPr sz="1200" b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68" name="Text Placeholder 57">
            <a:extLst>
              <a:ext uri="{FF2B5EF4-FFF2-40B4-BE49-F238E27FC236}">
                <a16:creationId xmlns:a16="http://schemas.microsoft.com/office/drawing/2014/main" id="{45E12D55-32E7-B929-648C-479F09B1EE7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644941" y="5313258"/>
            <a:ext cx="2034819" cy="322262"/>
          </a:xfrm>
        </p:spPr>
        <p:txBody>
          <a:bodyPr/>
          <a:lstStyle>
            <a:lvl1pPr algn="ctr">
              <a:defRPr sz="1000" b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69" name="Text Placeholder 57">
            <a:extLst>
              <a:ext uri="{FF2B5EF4-FFF2-40B4-BE49-F238E27FC236}">
                <a16:creationId xmlns:a16="http://schemas.microsoft.com/office/drawing/2014/main" id="{859E0D14-A7B6-74A7-ADF2-9B338309E72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644941" y="5760364"/>
            <a:ext cx="2034819" cy="576486"/>
          </a:xfrm>
        </p:spPr>
        <p:txBody>
          <a:bodyPr/>
          <a:lstStyle>
            <a:lvl1pPr algn="ctr">
              <a:defRPr sz="1000" b="0" i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70" name="Picture Placeholder 55">
            <a:extLst>
              <a:ext uri="{FF2B5EF4-FFF2-40B4-BE49-F238E27FC236}">
                <a16:creationId xmlns:a16="http://schemas.microsoft.com/office/drawing/2014/main" id="{355192AA-51B4-B3C2-8359-6FCC5C77C377}"/>
              </a:ext>
            </a:extLst>
          </p:cNvPr>
          <p:cNvSpPr>
            <a:spLocks noGrp="1" noChangeAspect="1"/>
          </p:cNvSpPr>
          <p:nvPr>
            <p:ph type="pic" sz="quarter" idx="43"/>
          </p:nvPr>
        </p:nvSpPr>
        <p:spPr>
          <a:xfrm>
            <a:off x="6760379" y="3967122"/>
            <a:ext cx="850909" cy="850909"/>
          </a:xfrm>
          <a:prstGeom prst="ellipse">
            <a:avLst/>
          </a:prstGeom>
          <a:ln w="19050">
            <a:gradFill>
              <a:gsLst>
                <a:gs pos="0">
                  <a:schemeClr val="accent1"/>
                </a:gs>
                <a:gs pos="100000">
                  <a:schemeClr val="tx1"/>
                </a:gs>
              </a:gsLst>
              <a:lin ang="10800000" scaled="0"/>
            </a:gradFill>
          </a:ln>
        </p:spPr>
        <p:txBody>
          <a:bodyPr/>
          <a:lstStyle>
            <a:lvl1pPr>
              <a:defRPr sz="1400">
                <a:latin typeface="Syne Medium" pitchFamily="2" charset="77"/>
              </a:defRPr>
            </a:lvl1pPr>
          </a:lstStyle>
          <a:p>
            <a:endParaRPr lang="en-GB" dirty="0"/>
          </a:p>
        </p:txBody>
      </p:sp>
      <p:sp>
        <p:nvSpPr>
          <p:cNvPr id="71" name="Text Placeholder 57">
            <a:extLst>
              <a:ext uri="{FF2B5EF4-FFF2-40B4-BE49-F238E27FC236}">
                <a16:creationId xmlns:a16="http://schemas.microsoft.com/office/drawing/2014/main" id="{F69383B1-F4E6-B17D-F93D-B5204C6E3322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6168424" y="4935725"/>
            <a:ext cx="2034819" cy="322262"/>
          </a:xfrm>
        </p:spPr>
        <p:txBody>
          <a:bodyPr/>
          <a:lstStyle>
            <a:lvl1pPr algn="ctr">
              <a:defRPr sz="1200" b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72" name="Text Placeholder 57">
            <a:extLst>
              <a:ext uri="{FF2B5EF4-FFF2-40B4-BE49-F238E27FC236}">
                <a16:creationId xmlns:a16="http://schemas.microsoft.com/office/drawing/2014/main" id="{75565203-BBF2-4470-5767-656B888A34D4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6168424" y="5313258"/>
            <a:ext cx="2034819" cy="322262"/>
          </a:xfrm>
        </p:spPr>
        <p:txBody>
          <a:bodyPr/>
          <a:lstStyle>
            <a:lvl1pPr algn="ctr">
              <a:defRPr sz="1000" b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73" name="Text Placeholder 57">
            <a:extLst>
              <a:ext uri="{FF2B5EF4-FFF2-40B4-BE49-F238E27FC236}">
                <a16:creationId xmlns:a16="http://schemas.microsoft.com/office/drawing/2014/main" id="{4AB3B1FE-D6B7-A726-C63F-60E0A2E32ADA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6168424" y="5760364"/>
            <a:ext cx="2034819" cy="576486"/>
          </a:xfrm>
        </p:spPr>
        <p:txBody>
          <a:bodyPr/>
          <a:lstStyle>
            <a:lvl1pPr algn="ctr">
              <a:defRPr sz="1000" b="0" i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74" name="Picture Placeholder 55">
            <a:extLst>
              <a:ext uri="{FF2B5EF4-FFF2-40B4-BE49-F238E27FC236}">
                <a16:creationId xmlns:a16="http://schemas.microsoft.com/office/drawing/2014/main" id="{72BD0A11-A10A-6450-6DB9-352C32B8CE5C}"/>
              </a:ext>
            </a:extLst>
          </p:cNvPr>
          <p:cNvSpPr>
            <a:spLocks noGrp="1" noChangeAspect="1"/>
          </p:cNvSpPr>
          <p:nvPr>
            <p:ph type="pic" sz="quarter" idx="47"/>
          </p:nvPr>
        </p:nvSpPr>
        <p:spPr>
          <a:xfrm>
            <a:off x="9238388" y="3966663"/>
            <a:ext cx="850909" cy="850909"/>
          </a:xfrm>
          <a:prstGeom prst="ellipse">
            <a:avLst/>
          </a:prstGeom>
          <a:ln w="19050">
            <a:gradFill>
              <a:gsLst>
                <a:gs pos="0">
                  <a:schemeClr val="accent1"/>
                </a:gs>
                <a:gs pos="100000">
                  <a:schemeClr val="tx1"/>
                </a:gs>
              </a:gsLst>
              <a:lin ang="10800000" scaled="0"/>
            </a:gradFill>
          </a:ln>
        </p:spPr>
        <p:txBody>
          <a:bodyPr/>
          <a:lstStyle>
            <a:lvl1pPr>
              <a:defRPr sz="1400">
                <a:latin typeface="Syne Medium" pitchFamily="2" charset="77"/>
              </a:defRPr>
            </a:lvl1pPr>
          </a:lstStyle>
          <a:p>
            <a:endParaRPr lang="en-GB" dirty="0"/>
          </a:p>
        </p:txBody>
      </p:sp>
      <p:sp>
        <p:nvSpPr>
          <p:cNvPr id="75" name="Text Placeholder 57">
            <a:extLst>
              <a:ext uri="{FF2B5EF4-FFF2-40B4-BE49-F238E27FC236}">
                <a16:creationId xmlns:a16="http://schemas.microsoft.com/office/drawing/2014/main" id="{E70111A5-8A0B-3896-0F84-73408496049D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8646433" y="4935266"/>
            <a:ext cx="2034819" cy="322262"/>
          </a:xfrm>
        </p:spPr>
        <p:txBody>
          <a:bodyPr/>
          <a:lstStyle>
            <a:lvl1pPr algn="ctr">
              <a:defRPr sz="1200" b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76" name="Text Placeholder 57">
            <a:extLst>
              <a:ext uri="{FF2B5EF4-FFF2-40B4-BE49-F238E27FC236}">
                <a16:creationId xmlns:a16="http://schemas.microsoft.com/office/drawing/2014/main" id="{D470EA0A-5A12-D1CF-B7CB-B1B4120E8A96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8646433" y="5312799"/>
            <a:ext cx="2034819" cy="322262"/>
          </a:xfrm>
        </p:spPr>
        <p:txBody>
          <a:bodyPr/>
          <a:lstStyle>
            <a:lvl1pPr algn="ctr">
              <a:defRPr sz="1000" b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77" name="Text Placeholder 57">
            <a:extLst>
              <a:ext uri="{FF2B5EF4-FFF2-40B4-BE49-F238E27FC236}">
                <a16:creationId xmlns:a16="http://schemas.microsoft.com/office/drawing/2014/main" id="{BAFAE16B-1D78-AFA6-CD2B-AB6073A72FF2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8646433" y="5759905"/>
            <a:ext cx="2034819" cy="576486"/>
          </a:xfrm>
        </p:spPr>
        <p:txBody>
          <a:bodyPr/>
          <a:lstStyle>
            <a:lvl1pPr algn="ctr">
              <a:defRPr sz="1000" b="0" i="1">
                <a:solidFill>
                  <a:schemeClr val="accent6"/>
                </a:solidFill>
                <a:latin typeface="Syne Medium" pitchFamily="2" charset="77"/>
              </a:defRPr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682090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titre (lapis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61E6B2F-E456-5782-3B98-F627DBF759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2000" y="3554900"/>
            <a:ext cx="9144000" cy="2387600"/>
          </a:xfrm>
        </p:spPr>
        <p:txBody>
          <a:bodyPr anchor="t"/>
          <a:lstStyle>
            <a:lvl1pPr algn="l">
              <a:lnSpc>
                <a:spcPct val="85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562A1E55-410F-ED77-A57B-0F6BA9CEAC5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6139" y="477643"/>
            <a:ext cx="2989384" cy="461665"/>
          </a:xfrm>
        </p:spPr>
        <p:txBody>
          <a:bodyPr wrap="square">
            <a:sp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pic>
        <p:nvPicPr>
          <p:cNvPr id="6" name="Graphique 5">
            <a:extLst>
              <a:ext uri="{FF2B5EF4-FFF2-40B4-BE49-F238E27FC236}">
                <a16:creationId xmlns:a16="http://schemas.microsoft.com/office/drawing/2014/main" id="{8B440EB0-C4E0-7682-6847-7EE5237896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25000" y="6269967"/>
            <a:ext cx="2300400" cy="211388"/>
          </a:xfrm>
          <a:prstGeom prst="rect">
            <a:avLst/>
          </a:prstGeom>
        </p:spPr>
      </p:pic>
      <p:sp>
        <p:nvSpPr>
          <p:cNvPr id="9" name="Forme libre 8">
            <a:extLst>
              <a:ext uri="{FF2B5EF4-FFF2-40B4-BE49-F238E27FC236}">
                <a16:creationId xmlns:a16="http://schemas.microsoft.com/office/drawing/2014/main" id="{DD91E932-0687-68D5-8451-3F3E453EED6D}"/>
              </a:ext>
            </a:extLst>
          </p:cNvPr>
          <p:cNvSpPr/>
          <p:nvPr userDrawn="1"/>
        </p:nvSpPr>
        <p:spPr>
          <a:xfrm>
            <a:off x="3282462" y="0"/>
            <a:ext cx="8909539" cy="2784118"/>
          </a:xfrm>
          <a:custGeom>
            <a:avLst/>
            <a:gdLst>
              <a:gd name="connsiteX0" fmla="*/ 4566112 w 8909539"/>
              <a:gd name="connsiteY0" fmla="*/ 0 h 2784118"/>
              <a:gd name="connsiteX1" fmla="*/ 6505356 w 8909539"/>
              <a:gd name="connsiteY1" fmla="*/ 0 h 2784118"/>
              <a:gd name="connsiteX2" fmla="*/ 7734291 w 8909539"/>
              <a:gd name="connsiteY2" fmla="*/ 2612120 h 2784118"/>
              <a:gd name="connsiteX3" fmla="*/ 7734291 w 8909539"/>
              <a:gd name="connsiteY3" fmla="*/ 0 h 2784118"/>
              <a:gd name="connsiteX4" fmla="*/ 8909539 w 8909539"/>
              <a:gd name="connsiteY4" fmla="*/ 0 h 2784118"/>
              <a:gd name="connsiteX5" fmla="*/ 8909539 w 8909539"/>
              <a:gd name="connsiteY5" fmla="*/ 2784118 h 2784118"/>
              <a:gd name="connsiteX6" fmla="*/ 5873550 w 8909539"/>
              <a:gd name="connsiteY6" fmla="*/ 2784118 h 2784118"/>
              <a:gd name="connsiteX7" fmla="*/ 5870419 w 8909539"/>
              <a:gd name="connsiteY7" fmla="*/ 2774737 h 2784118"/>
              <a:gd name="connsiteX8" fmla="*/ 1309901 w 8909539"/>
              <a:gd name="connsiteY8" fmla="*/ 0 h 2784118"/>
              <a:gd name="connsiteX9" fmla="*/ 3245446 w 8909539"/>
              <a:gd name="connsiteY9" fmla="*/ 0 h 2784118"/>
              <a:gd name="connsiteX10" fmla="*/ 1939054 w 8909539"/>
              <a:gd name="connsiteY10" fmla="*/ 2774737 h 2784118"/>
              <a:gd name="connsiteX11" fmla="*/ 1935922 w 8909539"/>
              <a:gd name="connsiteY11" fmla="*/ 2784118 h 2784118"/>
              <a:gd name="connsiteX12" fmla="*/ 0 w 8909539"/>
              <a:gd name="connsiteY12" fmla="*/ 2784118 h 2784118"/>
              <a:gd name="connsiteX13" fmla="*/ 9397 w 8909539"/>
              <a:gd name="connsiteY13" fmla="*/ 2762228 h 2784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909539" h="2784118">
                <a:moveTo>
                  <a:pt x="4566112" y="0"/>
                </a:moveTo>
                <a:lnTo>
                  <a:pt x="6505356" y="0"/>
                </a:lnTo>
                <a:lnTo>
                  <a:pt x="7734291" y="2612120"/>
                </a:lnTo>
                <a:lnTo>
                  <a:pt x="7734291" y="0"/>
                </a:lnTo>
                <a:lnTo>
                  <a:pt x="8909539" y="0"/>
                </a:lnTo>
                <a:lnTo>
                  <a:pt x="8909539" y="2784118"/>
                </a:lnTo>
                <a:lnTo>
                  <a:pt x="5873550" y="2784118"/>
                </a:lnTo>
                <a:lnTo>
                  <a:pt x="5870419" y="2774737"/>
                </a:lnTo>
                <a:close/>
                <a:moveTo>
                  <a:pt x="1309901" y="0"/>
                </a:moveTo>
                <a:lnTo>
                  <a:pt x="3245446" y="0"/>
                </a:lnTo>
                <a:lnTo>
                  <a:pt x="1939054" y="2774737"/>
                </a:lnTo>
                <a:lnTo>
                  <a:pt x="1935922" y="2784118"/>
                </a:lnTo>
                <a:lnTo>
                  <a:pt x="0" y="2784118"/>
                </a:lnTo>
                <a:lnTo>
                  <a:pt x="9397" y="276222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696055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titre (flamingo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61E6B2F-E456-5782-3B98-F627DBF759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2000" y="3554900"/>
            <a:ext cx="9144000" cy="2387600"/>
          </a:xfrm>
        </p:spPr>
        <p:txBody>
          <a:bodyPr anchor="t"/>
          <a:lstStyle>
            <a:lvl1pPr algn="l">
              <a:lnSpc>
                <a:spcPct val="85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562A1E55-410F-ED77-A57B-0F6BA9CEAC5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6139" y="477643"/>
            <a:ext cx="2989384" cy="461665"/>
          </a:xfrm>
        </p:spPr>
        <p:txBody>
          <a:bodyPr wrap="square">
            <a:spAutoFit/>
          </a:bodyPr>
          <a:lstStyle>
            <a:lvl1pPr marL="0" indent="0" algn="l">
              <a:buNone/>
              <a:defRPr sz="15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sp>
        <p:nvSpPr>
          <p:cNvPr id="4" name="Graphique 8">
            <a:extLst>
              <a:ext uri="{FF2B5EF4-FFF2-40B4-BE49-F238E27FC236}">
                <a16:creationId xmlns:a16="http://schemas.microsoft.com/office/drawing/2014/main" id="{7420A44D-1B84-328C-8779-5E801BD548CC}"/>
              </a:ext>
            </a:extLst>
          </p:cNvPr>
          <p:cNvSpPr/>
          <p:nvPr userDrawn="1"/>
        </p:nvSpPr>
        <p:spPr>
          <a:xfrm>
            <a:off x="9525000" y="6268956"/>
            <a:ext cx="2300959" cy="211047"/>
          </a:xfrm>
          <a:custGeom>
            <a:avLst/>
            <a:gdLst>
              <a:gd name="connsiteX0" fmla="*/ 7768727 w 7769775"/>
              <a:gd name="connsiteY0" fmla="*/ 2607 h 712655"/>
              <a:gd name="connsiteX1" fmla="*/ 7468012 w 7769775"/>
              <a:gd name="connsiteY1" fmla="*/ 2607 h 712655"/>
              <a:gd name="connsiteX2" fmla="*/ 7465388 w 7769775"/>
              <a:gd name="connsiteY2" fmla="*/ 2607 h 712655"/>
              <a:gd name="connsiteX3" fmla="*/ 7465388 w 7769775"/>
              <a:gd name="connsiteY3" fmla="*/ 5213 h 712655"/>
              <a:gd name="connsiteX4" fmla="*/ 7465388 w 7769775"/>
              <a:gd name="connsiteY4" fmla="*/ 674599 h 712655"/>
              <a:gd name="connsiteX5" fmla="*/ 7147879 w 7769775"/>
              <a:gd name="connsiteY5" fmla="*/ 4171 h 712655"/>
              <a:gd name="connsiteX6" fmla="*/ 7145255 w 7769775"/>
              <a:gd name="connsiteY6" fmla="*/ 5213 h 712655"/>
              <a:gd name="connsiteX7" fmla="*/ 7145255 w 7769775"/>
              <a:gd name="connsiteY7" fmla="*/ 5213 h 712655"/>
              <a:gd name="connsiteX8" fmla="*/ 7147879 w 7769775"/>
              <a:gd name="connsiteY8" fmla="*/ 4171 h 712655"/>
              <a:gd name="connsiteX9" fmla="*/ 7147355 w 7769775"/>
              <a:gd name="connsiteY9" fmla="*/ 2607 h 712655"/>
              <a:gd name="connsiteX10" fmla="*/ 7145780 w 7769775"/>
              <a:gd name="connsiteY10" fmla="*/ 2607 h 712655"/>
              <a:gd name="connsiteX11" fmla="*/ 6827222 w 7769775"/>
              <a:gd name="connsiteY11" fmla="*/ 2607 h 712655"/>
              <a:gd name="connsiteX12" fmla="*/ 6825123 w 7769775"/>
              <a:gd name="connsiteY12" fmla="*/ 2607 h 712655"/>
              <a:gd name="connsiteX13" fmla="*/ 6823023 w 7769775"/>
              <a:gd name="connsiteY13" fmla="*/ 2607 h 712655"/>
              <a:gd name="connsiteX14" fmla="*/ 6820924 w 7769775"/>
              <a:gd name="connsiteY14" fmla="*/ 2607 h 712655"/>
              <a:gd name="connsiteX15" fmla="*/ 6502366 w 7769775"/>
              <a:gd name="connsiteY15" fmla="*/ 2607 h 712655"/>
              <a:gd name="connsiteX16" fmla="*/ 6500791 w 7769775"/>
              <a:gd name="connsiteY16" fmla="*/ 2607 h 712655"/>
              <a:gd name="connsiteX17" fmla="*/ 6500267 w 7769775"/>
              <a:gd name="connsiteY17" fmla="*/ 4171 h 712655"/>
              <a:gd name="connsiteX18" fmla="*/ 6502366 w 7769775"/>
              <a:gd name="connsiteY18" fmla="*/ 5213 h 712655"/>
              <a:gd name="connsiteX19" fmla="*/ 6502366 w 7769775"/>
              <a:gd name="connsiteY19" fmla="*/ 5213 h 712655"/>
              <a:gd name="connsiteX20" fmla="*/ 6499742 w 7769775"/>
              <a:gd name="connsiteY20" fmla="*/ 4171 h 712655"/>
              <a:gd name="connsiteX21" fmla="*/ 6171213 w 7769775"/>
              <a:gd name="connsiteY21" fmla="*/ 699623 h 712655"/>
              <a:gd name="connsiteX22" fmla="*/ 6169638 w 7769775"/>
              <a:gd name="connsiteY22" fmla="*/ 703272 h 712655"/>
              <a:gd name="connsiteX23" fmla="*/ 6173837 w 7769775"/>
              <a:gd name="connsiteY23" fmla="*/ 703272 h 712655"/>
              <a:gd name="connsiteX24" fmla="*/ 6492394 w 7769775"/>
              <a:gd name="connsiteY24" fmla="*/ 703272 h 712655"/>
              <a:gd name="connsiteX25" fmla="*/ 6493969 w 7769775"/>
              <a:gd name="connsiteY25" fmla="*/ 703272 h 712655"/>
              <a:gd name="connsiteX26" fmla="*/ 6494494 w 7769775"/>
              <a:gd name="connsiteY26" fmla="*/ 701708 h 712655"/>
              <a:gd name="connsiteX27" fmla="*/ 6491870 w 7769775"/>
              <a:gd name="connsiteY27" fmla="*/ 700665 h 712655"/>
              <a:gd name="connsiteX28" fmla="*/ 6491870 w 7769775"/>
              <a:gd name="connsiteY28" fmla="*/ 700665 h 712655"/>
              <a:gd name="connsiteX29" fmla="*/ 6494494 w 7769775"/>
              <a:gd name="connsiteY29" fmla="*/ 701708 h 712655"/>
              <a:gd name="connsiteX30" fmla="*/ 6823023 w 7769775"/>
              <a:gd name="connsiteY30" fmla="*/ 6256 h 712655"/>
              <a:gd name="connsiteX31" fmla="*/ 6820399 w 7769775"/>
              <a:gd name="connsiteY31" fmla="*/ 5213 h 712655"/>
              <a:gd name="connsiteX32" fmla="*/ 6820399 w 7769775"/>
              <a:gd name="connsiteY32" fmla="*/ 5213 h 712655"/>
              <a:gd name="connsiteX33" fmla="*/ 6823023 w 7769775"/>
              <a:gd name="connsiteY33" fmla="*/ 6256 h 712655"/>
              <a:gd name="connsiteX34" fmla="*/ 6823548 w 7769775"/>
              <a:gd name="connsiteY34" fmla="*/ 4692 h 712655"/>
              <a:gd name="connsiteX35" fmla="*/ 6824073 w 7769775"/>
              <a:gd name="connsiteY35" fmla="*/ 6256 h 712655"/>
              <a:gd name="connsiteX36" fmla="*/ 7152603 w 7769775"/>
              <a:gd name="connsiteY36" fmla="*/ 701708 h 712655"/>
              <a:gd name="connsiteX37" fmla="*/ 7155227 w 7769775"/>
              <a:gd name="connsiteY37" fmla="*/ 700665 h 712655"/>
              <a:gd name="connsiteX38" fmla="*/ 7155227 w 7769775"/>
              <a:gd name="connsiteY38" fmla="*/ 700665 h 712655"/>
              <a:gd name="connsiteX39" fmla="*/ 7152603 w 7769775"/>
              <a:gd name="connsiteY39" fmla="*/ 701708 h 712655"/>
              <a:gd name="connsiteX40" fmla="*/ 7153127 w 7769775"/>
              <a:gd name="connsiteY40" fmla="*/ 703272 h 712655"/>
              <a:gd name="connsiteX41" fmla="*/ 7154702 w 7769775"/>
              <a:gd name="connsiteY41" fmla="*/ 703272 h 712655"/>
              <a:gd name="connsiteX42" fmla="*/ 7463813 w 7769775"/>
              <a:gd name="connsiteY42" fmla="*/ 703272 h 712655"/>
              <a:gd name="connsiteX43" fmla="*/ 7466437 w 7769775"/>
              <a:gd name="connsiteY43" fmla="*/ 703272 h 712655"/>
              <a:gd name="connsiteX44" fmla="*/ 7472735 w 7769775"/>
              <a:gd name="connsiteY44" fmla="*/ 703272 h 712655"/>
              <a:gd name="connsiteX45" fmla="*/ 7476933 w 7769775"/>
              <a:gd name="connsiteY45" fmla="*/ 703272 h 712655"/>
              <a:gd name="connsiteX46" fmla="*/ 7767152 w 7769775"/>
              <a:gd name="connsiteY46" fmla="*/ 703272 h 712655"/>
              <a:gd name="connsiteX47" fmla="*/ 7769776 w 7769775"/>
              <a:gd name="connsiteY47" fmla="*/ 703272 h 712655"/>
              <a:gd name="connsiteX48" fmla="*/ 7769776 w 7769775"/>
              <a:gd name="connsiteY48" fmla="*/ 700665 h 712655"/>
              <a:gd name="connsiteX49" fmla="*/ 7769776 w 7769775"/>
              <a:gd name="connsiteY49" fmla="*/ 5213 h 712655"/>
              <a:gd name="connsiteX50" fmla="*/ 7769776 w 7769775"/>
              <a:gd name="connsiteY50" fmla="*/ 2607 h 712655"/>
              <a:gd name="connsiteX51" fmla="*/ 7768727 w 7769775"/>
              <a:gd name="connsiteY51" fmla="*/ 2607 h 712655"/>
              <a:gd name="connsiteX52" fmla="*/ 6820924 w 7769775"/>
              <a:gd name="connsiteY52" fmla="*/ 5213 h 712655"/>
              <a:gd name="connsiteX53" fmla="*/ 6820924 w 7769775"/>
              <a:gd name="connsiteY53" fmla="*/ 5213 h 712655"/>
              <a:gd name="connsiteX54" fmla="*/ 6820924 w 7769775"/>
              <a:gd name="connsiteY54" fmla="*/ 5213 h 712655"/>
              <a:gd name="connsiteX55" fmla="*/ 6820924 w 7769775"/>
              <a:gd name="connsiteY55" fmla="*/ 5213 h 712655"/>
              <a:gd name="connsiteX56" fmla="*/ 6820924 w 7769775"/>
              <a:gd name="connsiteY56" fmla="*/ 5213 h 712655"/>
              <a:gd name="connsiteX57" fmla="*/ 1609585 w 7769775"/>
              <a:gd name="connsiteY57" fmla="*/ 42228 h 712655"/>
              <a:gd name="connsiteX58" fmla="*/ 1348231 w 7769775"/>
              <a:gd name="connsiteY58" fmla="*/ 0 h 712655"/>
              <a:gd name="connsiteX59" fmla="*/ 1086352 w 7769775"/>
              <a:gd name="connsiteY59" fmla="*/ 42228 h 712655"/>
              <a:gd name="connsiteX60" fmla="*/ 926285 w 7769775"/>
              <a:gd name="connsiteY60" fmla="*/ 163697 h 712655"/>
              <a:gd name="connsiteX61" fmla="*/ 872230 w 7769775"/>
              <a:gd name="connsiteY61" fmla="*/ 356589 h 712655"/>
              <a:gd name="connsiteX62" fmla="*/ 926285 w 7769775"/>
              <a:gd name="connsiteY62" fmla="*/ 547395 h 712655"/>
              <a:gd name="connsiteX63" fmla="*/ 1086352 w 7769775"/>
              <a:gd name="connsiteY63" fmla="*/ 668864 h 712655"/>
              <a:gd name="connsiteX64" fmla="*/ 1348231 w 7769775"/>
              <a:gd name="connsiteY64" fmla="*/ 711092 h 712655"/>
              <a:gd name="connsiteX65" fmla="*/ 1609585 w 7769775"/>
              <a:gd name="connsiteY65" fmla="*/ 668864 h 712655"/>
              <a:gd name="connsiteX66" fmla="*/ 1769126 w 7769775"/>
              <a:gd name="connsiteY66" fmla="*/ 547395 h 712655"/>
              <a:gd name="connsiteX67" fmla="*/ 1823182 w 7769775"/>
              <a:gd name="connsiteY67" fmla="*/ 356589 h 712655"/>
              <a:gd name="connsiteX68" fmla="*/ 1769126 w 7769775"/>
              <a:gd name="connsiteY68" fmla="*/ 163697 h 712655"/>
              <a:gd name="connsiteX69" fmla="*/ 1609585 w 7769775"/>
              <a:gd name="connsiteY69" fmla="*/ 42228 h 712655"/>
              <a:gd name="connsiteX70" fmla="*/ 1610110 w 7769775"/>
              <a:gd name="connsiteY70" fmla="*/ 480665 h 712655"/>
              <a:gd name="connsiteX71" fmla="*/ 1504623 w 7769775"/>
              <a:gd name="connsiteY71" fmla="*/ 551566 h 712655"/>
              <a:gd name="connsiteX72" fmla="*/ 1348231 w 7769775"/>
              <a:gd name="connsiteY72" fmla="*/ 574504 h 712655"/>
              <a:gd name="connsiteX73" fmla="*/ 1190264 w 7769775"/>
              <a:gd name="connsiteY73" fmla="*/ 551566 h 712655"/>
              <a:gd name="connsiteX74" fmla="*/ 1082153 w 7769775"/>
              <a:gd name="connsiteY74" fmla="*/ 480665 h 712655"/>
              <a:gd name="connsiteX75" fmla="*/ 1042793 w 7769775"/>
              <a:gd name="connsiteY75" fmla="*/ 356589 h 712655"/>
              <a:gd name="connsiteX76" fmla="*/ 1082153 w 7769775"/>
              <a:gd name="connsiteY76" fmla="*/ 231991 h 712655"/>
              <a:gd name="connsiteX77" fmla="*/ 1190264 w 7769775"/>
              <a:gd name="connsiteY77" fmla="*/ 160048 h 712655"/>
              <a:gd name="connsiteX78" fmla="*/ 1348231 w 7769775"/>
              <a:gd name="connsiteY78" fmla="*/ 136588 h 712655"/>
              <a:gd name="connsiteX79" fmla="*/ 1504623 w 7769775"/>
              <a:gd name="connsiteY79" fmla="*/ 160048 h 712655"/>
              <a:gd name="connsiteX80" fmla="*/ 1610110 w 7769775"/>
              <a:gd name="connsiteY80" fmla="*/ 231991 h 712655"/>
              <a:gd name="connsiteX81" fmla="*/ 1648421 w 7769775"/>
              <a:gd name="connsiteY81" fmla="*/ 356589 h 712655"/>
              <a:gd name="connsiteX82" fmla="*/ 1610110 w 7769775"/>
              <a:gd name="connsiteY82" fmla="*/ 480665 h 712655"/>
              <a:gd name="connsiteX83" fmla="*/ 697469 w 7769775"/>
              <a:gd name="connsiteY83" fmla="*/ 70901 h 712655"/>
              <a:gd name="connsiteX84" fmla="*/ 697469 w 7769775"/>
              <a:gd name="connsiteY84" fmla="*/ 70901 h 712655"/>
              <a:gd name="connsiteX85" fmla="*/ 602479 w 7769775"/>
              <a:gd name="connsiteY85" fmla="*/ 28673 h 712655"/>
              <a:gd name="connsiteX86" fmla="*/ 486497 w 7769775"/>
              <a:gd name="connsiteY86" fmla="*/ 15119 h 712655"/>
              <a:gd name="connsiteX87" fmla="*/ 0 w 7769775"/>
              <a:gd name="connsiteY87" fmla="*/ 15119 h 712655"/>
              <a:gd name="connsiteX88" fmla="*/ 0 w 7769775"/>
              <a:gd name="connsiteY88" fmla="*/ 697016 h 712655"/>
              <a:gd name="connsiteX89" fmla="*/ 165314 w 7769775"/>
              <a:gd name="connsiteY89" fmla="*/ 697016 h 712655"/>
              <a:gd name="connsiteX90" fmla="*/ 165314 w 7769775"/>
              <a:gd name="connsiteY90" fmla="*/ 484314 h 712655"/>
              <a:gd name="connsiteX91" fmla="*/ 486497 w 7769775"/>
              <a:gd name="connsiteY91" fmla="*/ 484314 h 712655"/>
              <a:gd name="connsiteX92" fmla="*/ 602479 w 7769775"/>
              <a:gd name="connsiteY92" fmla="*/ 473366 h 712655"/>
              <a:gd name="connsiteX93" fmla="*/ 697469 w 7769775"/>
              <a:gd name="connsiteY93" fmla="*/ 435831 h 712655"/>
              <a:gd name="connsiteX94" fmla="*/ 760446 w 7769775"/>
              <a:gd name="connsiteY94" fmla="*/ 364930 h 712655"/>
              <a:gd name="connsiteX95" fmla="*/ 783013 w 7769775"/>
              <a:gd name="connsiteY95" fmla="*/ 255972 h 712655"/>
              <a:gd name="connsiteX96" fmla="*/ 760446 w 7769775"/>
              <a:gd name="connsiteY96" fmla="*/ 144408 h 712655"/>
              <a:gd name="connsiteX97" fmla="*/ 697469 w 7769775"/>
              <a:gd name="connsiteY97" fmla="*/ 70901 h 712655"/>
              <a:gd name="connsiteX98" fmla="*/ 587260 w 7769775"/>
              <a:gd name="connsiteY98" fmla="*/ 332086 h 712655"/>
              <a:gd name="connsiteX99" fmla="*/ 505390 w 7769775"/>
              <a:gd name="connsiteY99" fmla="*/ 358153 h 712655"/>
              <a:gd name="connsiteX100" fmla="*/ 165314 w 7769775"/>
              <a:gd name="connsiteY100" fmla="*/ 358153 h 712655"/>
              <a:gd name="connsiteX101" fmla="*/ 165314 w 7769775"/>
              <a:gd name="connsiteY101" fmla="*/ 154313 h 712655"/>
              <a:gd name="connsiteX102" fmla="*/ 505390 w 7769775"/>
              <a:gd name="connsiteY102" fmla="*/ 154313 h 712655"/>
              <a:gd name="connsiteX103" fmla="*/ 587260 w 7769775"/>
              <a:gd name="connsiteY103" fmla="*/ 179858 h 712655"/>
              <a:gd name="connsiteX104" fmla="*/ 618223 w 7769775"/>
              <a:gd name="connsiteY104" fmla="*/ 257015 h 712655"/>
              <a:gd name="connsiteX105" fmla="*/ 587260 w 7769775"/>
              <a:gd name="connsiteY105" fmla="*/ 332086 h 712655"/>
              <a:gd name="connsiteX106" fmla="*/ 2573656 w 7769775"/>
              <a:gd name="connsiteY106" fmla="*/ 360759 h 712655"/>
              <a:gd name="connsiteX107" fmla="*/ 2573656 w 7769775"/>
              <a:gd name="connsiteY107" fmla="*/ 360759 h 712655"/>
              <a:gd name="connsiteX108" fmla="*/ 2479716 w 7769775"/>
              <a:gd name="connsiteY108" fmla="*/ 324266 h 712655"/>
              <a:gd name="connsiteX109" fmla="*/ 2353762 w 7769775"/>
              <a:gd name="connsiteY109" fmla="*/ 303413 h 712655"/>
              <a:gd name="connsiteX110" fmla="*/ 2232531 w 7769775"/>
              <a:gd name="connsiteY110" fmla="*/ 288816 h 712655"/>
              <a:gd name="connsiteX111" fmla="*/ 2156959 w 7769775"/>
              <a:gd name="connsiteY111" fmla="*/ 271091 h 712655"/>
              <a:gd name="connsiteX112" fmla="*/ 2118123 w 7769775"/>
              <a:gd name="connsiteY112" fmla="*/ 248152 h 712655"/>
              <a:gd name="connsiteX113" fmla="*/ 2107102 w 7769775"/>
              <a:gd name="connsiteY113" fmla="*/ 215830 h 712655"/>
              <a:gd name="connsiteX114" fmla="*/ 2152761 w 7769775"/>
              <a:gd name="connsiteY114" fmla="*/ 152749 h 712655"/>
              <a:gd name="connsiteX115" fmla="*/ 2275566 w 7769775"/>
              <a:gd name="connsiteY115" fmla="*/ 135024 h 712655"/>
              <a:gd name="connsiteX116" fmla="*/ 2406768 w 7769775"/>
              <a:gd name="connsiteY116" fmla="*/ 160569 h 712655"/>
              <a:gd name="connsiteX117" fmla="*/ 2462397 w 7769775"/>
              <a:gd name="connsiteY117" fmla="*/ 242939 h 712655"/>
              <a:gd name="connsiteX118" fmla="*/ 2626662 w 7769775"/>
              <a:gd name="connsiteY118" fmla="*/ 242939 h 712655"/>
              <a:gd name="connsiteX119" fmla="*/ 2538494 w 7769775"/>
              <a:gd name="connsiteY119" fmla="*/ 64645 h 712655"/>
              <a:gd name="connsiteX120" fmla="*/ 2280289 w 7769775"/>
              <a:gd name="connsiteY120" fmla="*/ 0 h 712655"/>
              <a:gd name="connsiteX121" fmla="*/ 2091883 w 7769775"/>
              <a:gd name="connsiteY121" fmla="*/ 25545 h 712655"/>
              <a:gd name="connsiteX122" fmla="*/ 1976425 w 7769775"/>
              <a:gd name="connsiteY122" fmla="*/ 98010 h 712655"/>
              <a:gd name="connsiteX123" fmla="*/ 1937590 w 7769775"/>
              <a:gd name="connsiteY123" fmla="*/ 208010 h 712655"/>
              <a:gd name="connsiteX124" fmla="*/ 1960681 w 7769775"/>
              <a:gd name="connsiteY124" fmla="*/ 291423 h 712655"/>
              <a:gd name="connsiteX125" fmla="*/ 2025757 w 7769775"/>
              <a:gd name="connsiteY125" fmla="*/ 349811 h 712655"/>
              <a:gd name="connsiteX126" fmla="*/ 2124421 w 7769775"/>
              <a:gd name="connsiteY126" fmla="*/ 388390 h 712655"/>
              <a:gd name="connsiteX127" fmla="*/ 2248801 w 7769775"/>
              <a:gd name="connsiteY127" fmla="*/ 408200 h 712655"/>
              <a:gd name="connsiteX128" fmla="*/ 2388399 w 7769775"/>
              <a:gd name="connsiteY128" fmla="*/ 426447 h 712655"/>
              <a:gd name="connsiteX129" fmla="*/ 2463972 w 7769775"/>
              <a:gd name="connsiteY129" fmla="*/ 449906 h 712655"/>
              <a:gd name="connsiteX130" fmla="*/ 2487063 w 7769775"/>
              <a:gd name="connsiteY130" fmla="*/ 490570 h 712655"/>
              <a:gd name="connsiteX131" fmla="*/ 2469745 w 7769775"/>
              <a:gd name="connsiteY131" fmla="*/ 538532 h 712655"/>
              <a:gd name="connsiteX132" fmla="*/ 2415165 w 7769775"/>
              <a:gd name="connsiteY132" fmla="*/ 568248 h 712655"/>
              <a:gd name="connsiteX133" fmla="*/ 2318600 w 7769775"/>
              <a:gd name="connsiteY133" fmla="*/ 578153 h 712655"/>
              <a:gd name="connsiteX134" fmla="*/ 2204717 w 7769775"/>
              <a:gd name="connsiteY134" fmla="*/ 563556 h 712655"/>
              <a:gd name="connsiteX135" fmla="*/ 2123896 w 7769775"/>
              <a:gd name="connsiteY135" fmla="*/ 522371 h 712655"/>
              <a:gd name="connsiteX136" fmla="*/ 2088209 w 7769775"/>
              <a:gd name="connsiteY136" fmla="*/ 462418 h 712655"/>
              <a:gd name="connsiteX137" fmla="*/ 1915548 w 7769775"/>
              <a:gd name="connsiteY137" fmla="*/ 462418 h 712655"/>
              <a:gd name="connsiteX138" fmla="*/ 1928143 w 7769775"/>
              <a:gd name="connsiteY138" fmla="*/ 529148 h 712655"/>
              <a:gd name="connsiteX139" fmla="*/ 1972227 w 7769775"/>
              <a:gd name="connsiteY139" fmla="*/ 596921 h 712655"/>
              <a:gd name="connsiteX140" fmla="*/ 2049374 w 7769775"/>
              <a:gd name="connsiteY140" fmla="*/ 655831 h 712655"/>
              <a:gd name="connsiteX141" fmla="*/ 2159583 w 7769775"/>
              <a:gd name="connsiteY141" fmla="*/ 697538 h 712655"/>
              <a:gd name="connsiteX142" fmla="*/ 2304430 w 7769775"/>
              <a:gd name="connsiteY142" fmla="*/ 712656 h 712655"/>
              <a:gd name="connsiteX143" fmla="*/ 2501758 w 7769775"/>
              <a:gd name="connsiteY143" fmla="*/ 687632 h 712655"/>
              <a:gd name="connsiteX144" fmla="*/ 2613542 w 7769775"/>
              <a:gd name="connsiteY144" fmla="*/ 615689 h 712655"/>
              <a:gd name="connsiteX145" fmla="*/ 2649229 w 7769775"/>
              <a:gd name="connsiteY145" fmla="*/ 502039 h 712655"/>
              <a:gd name="connsiteX146" fmla="*/ 2630336 w 7769775"/>
              <a:gd name="connsiteY146" fmla="*/ 417584 h 712655"/>
              <a:gd name="connsiteX147" fmla="*/ 2573656 w 7769775"/>
              <a:gd name="connsiteY147" fmla="*/ 360759 h 712655"/>
              <a:gd name="connsiteX148" fmla="*/ 4264586 w 7769775"/>
              <a:gd name="connsiteY148" fmla="*/ 14597 h 712655"/>
              <a:gd name="connsiteX149" fmla="*/ 4586818 w 7769775"/>
              <a:gd name="connsiteY149" fmla="*/ 696495 h 712655"/>
              <a:gd name="connsiteX150" fmla="*/ 4747934 w 7769775"/>
              <a:gd name="connsiteY150" fmla="*/ 696495 h 712655"/>
              <a:gd name="connsiteX151" fmla="*/ 4447220 w 7769775"/>
              <a:gd name="connsiteY151" fmla="*/ 14597 h 712655"/>
              <a:gd name="connsiteX152" fmla="*/ 4264586 w 7769775"/>
              <a:gd name="connsiteY152" fmla="*/ 14597 h 712655"/>
              <a:gd name="connsiteX153" fmla="*/ 5317351 w 7769775"/>
              <a:gd name="connsiteY153" fmla="*/ 696495 h 712655"/>
              <a:gd name="connsiteX154" fmla="*/ 6000650 w 7769775"/>
              <a:gd name="connsiteY154" fmla="*/ 696495 h 712655"/>
              <a:gd name="connsiteX155" fmla="*/ 6064152 w 7769775"/>
              <a:gd name="connsiteY155" fmla="*/ 562513 h 712655"/>
              <a:gd name="connsiteX156" fmla="*/ 5482665 w 7769775"/>
              <a:gd name="connsiteY156" fmla="*/ 562513 h 712655"/>
              <a:gd name="connsiteX157" fmla="*/ 5482665 w 7769775"/>
              <a:gd name="connsiteY157" fmla="*/ 411328 h 712655"/>
              <a:gd name="connsiteX158" fmla="*/ 5960765 w 7769775"/>
              <a:gd name="connsiteY158" fmla="*/ 411328 h 712655"/>
              <a:gd name="connsiteX159" fmla="*/ 5960765 w 7769775"/>
              <a:gd name="connsiteY159" fmla="*/ 301849 h 712655"/>
              <a:gd name="connsiteX160" fmla="*/ 5482665 w 7769775"/>
              <a:gd name="connsiteY160" fmla="*/ 301849 h 712655"/>
              <a:gd name="connsiteX161" fmla="*/ 5482665 w 7769775"/>
              <a:gd name="connsiteY161" fmla="*/ 148579 h 712655"/>
              <a:gd name="connsiteX162" fmla="*/ 6065726 w 7769775"/>
              <a:gd name="connsiteY162" fmla="*/ 148579 h 712655"/>
              <a:gd name="connsiteX163" fmla="*/ 6065726 w 7769775"/>
              <a:gd name="connsiteY163" fmla="*/ 14597 h 712655"/>
              <a:gd name="connsiteX164" fmla="*/ 5317351 w 7769775"/>
              <a:gd name="connsiteY164" fmla="*/ 14597 h 712655"/>
              <a:gd name="connsiteX165" fmla="*/ 5317351 w 7769775"/>
              <a:gd name="connsiteY165" fmla="*/ 696495 h 712655"/>
              <a:gd name="connsiteX166" fmla="*/ 2792501 w 7769775"/>
              <a:gd name="connsiteY166" fmla="*/ 696495 h 712655"/>
              <a:gd name="connsiteX167" fmla="*/ 2957815 w 7769775"/>
              <a:gd name="connsiteY167" fmla="*/ 696495 h 712655"/>
              <a:gd name="connsiteX168" fmla="*/ 2957815 w 7769775"/>
              <a:gd name="connsiteY168" fmla="*/ 14597 h 712655"/>
              <a:gd name="connsiteX169" fmla="*/ 2792501 w 7769775"/>
              <a:gd name="connsiteY169" fmla="*/ 14597 h 712655"/>
              <a:gd name="connsiteX170" fmla="*/ 2792501 w 7769775"/>
              <a:gd name="connsiteY170" fmla="*/ 696495 h 712655"/>
              <a:gd name="connsiteX171" fmla="*/ 4747934 w 7769775"/>
              <a:gd name="connsiteY171" fmla="*/ 696495 h 712655"/>
              <a:gd name="connsiteX172" fmla="*/ 4909050 w 7769775"/>
              <a:gd name="connsiteY172" fmla="*/ 696495 h 712655"/>
              <a:gd name="connsiteX173" fmla="*/ 5231807 w 7769775"/>
              <a:gd name="connsiteY173" fmla="*/ 14597 h 712655"/>
              <a:gd name="connsiteX174" fmla="*/ 5049699 w 7769775"/>
              <a:gd name="connsiteY174" fmla="*/ 14597 h 712655"/>
              <a:gd name="connsiteX175" fmla="*/ 4747934 w 7769775"/>
              <a:gd name="connsiteY175" fmla="*/ 696495 h 712655"/>
              <a:gd name="connsiteX176" fmla="*/ 3079571 w 7769775"/>
              <a:gd name="connsiteY176" fmla="*/ 148579 h 712655"/>
              <a:gd name="connsiteX177" fmla="*/ 3396555 w 7769775"/>
              <a:gd name="connsiteY177" fmla="*/ 148579 h 712655"/>
              <a:gd name="connsiteX178" fmla="*/ 3396555 w 7769775"/>
              <a:gd name="connsiteY178" fmla="*/ 696495 h 712655"/>
              <a:gd name="connsiteX179" fmla="*/ 3561869 w 7769775"/>
              <a:gd name="connsiteY179" fmla="*/ 696495 h 712655"/>
              <a:gd name="connsiteX180" fmla="*/ 3561869 w 7769775"/>
              <a:gd name="connsiteY180" fmla="*/ 148579 h 712655"/>
              <a:gd name="connsiteX181" fmla="*/ 3878853 w 7769775"/>
              <a:gd name="connsiteY181" fmla="*/ 148579 h 712655"/>
              <a:gd name="connsiteX182" fmla="*/ 3878853 w 7769775"/>
              <a:gd name="connsiteY182" fmla="*/ 14597 h 712655"/>
              <a:gd name="connsiteX183" fmla="*/ 3079571 w 7769775"/>
              <a:gd name="connsiteY183" fmla="*/ 14597 h 712655"/>
              <a:gd name="connsiteX184" fmla="*/ 3079571 w 7769775"/>
              <a:gd name="connsiteY184" fmla="*/ 148579 h 712655"/>
              <a:gd name="connsiteX185" fmla="*/ 4001658 w 7769775"/>
              <a:gd name="connsiteY185" fmla="*/ 696495 h 712655"/>
              <a:gd name="connsiteX186" fmla="*/ 4166972 w 7769775"/>
              <a:gd name="connsiteY186" fmla="*/ 696495 h 712655"/>
              <a:gd name="connsiteX187" fmla="*/ 4166972 w 7769775"/>
              <a:gd name="connsiteY187" fmla="*/ 14597 h 712655"/>
              <a:gd name="connsiteX188" fmla="*/ 4001658 w 7769775"/>
              <a:gd name="connsiteY188" fmla="*/ 14597 h 712655"/>
              <a:gd name="connsiteX189" fmla="*/ 4001658 w 7769775"/>
              <a:gd name="connsiteY189" fmla="*/ 696495 h 7126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</a:cxnLst>
            <a:rect l="l" t="t" r="r" b="b"/>
            <a:pathLst>
              <a:path w="7769775" h="712655">
                <a:moveTo>
                  <a:pt x="7768727" y="2607"/>
                </a:moveTo>
                <a:lnTo>
                  <a:pt x="7468012" y="2607"/>
                </a:lnTo>
                <a:lnTo>
                  <a:pt x="7465388" y="2607"/>
                </a:lnTo>
                <a:lnTo>
                  <a:pt x="7465388" y="5213"/>
                </a:lnTo>
                <a:lnTo>
                  <a:pt x="7465388" y="674599"/>
                </a:lnTo>
                <a:lnTo>
                  <a:pt x="7147879" y="4171"/>
                </a:lnTo>
                <a:lnTo>
                  <a:pt x="7145255" y="5213"/>
                </a:lnTo>
                <a:lnTo>
                  <a:pt x="7145255" y="5213"/>
                </a:lnTo>
                <a:lnTo>
                  <a:pt x="7147879" y="4171"/>
                </a:lnTo>
                <a:lnTo>
                  <a:pt x="7147355" y="2607"/>
                </a:lnTo>
                <a:lnTo>
                  <a:pt x="7145780" y="2607"/>
                </a:lnTo>
                <a:lnTo>
                  <a:pt x="6827222" y="2607"/>
                </a:lnTo>
                <a:lnTo>
                  <a:pt x="6825123" y="2607"/>
                </a:lnTo>
                <a:lnTo>
                  <a:pt x="6823023" y="2607"/>
                </a:lnTo>
                <a:lnTo>
                  <a:pt x="6820924" y="2607"/>
                </a:lnTo>
                <a:lnTo>
                  <a:pt x="6502366" y="2607"/>
                </a:lnTo>
                <a:lnTo>
                  <a:pt x="6500791" y="2607"/>
                </a:lnTo>
                <a:lnTo>
                  <a:pt x="6500267" y="4171"/>
                </a:lnTo>
                <a:lnTo>
                  <a:pt x="6502366" y="5213"/>
                </a:lnTo>
                <a:lnTo>
                  <a:pt x="6502366" y="5213"/>
                </a:lnTo>
                <a:lnTo>
                  <a:pt x="6499742" y="4171"/>
                </a:lnTo>
                <a:lnTo>
                  <a:pt x="6171213" y="699623"/>
                </a:lnTo>
                <a:lnTo>
                  <a:pt x="6169638" y="703272"/>
                </a:lnTo>
                <a:lnTo>
                  <a:pt x="6173837" y="703272"/>
                </a:lnTo>
                <a:lnTo>
                  <a:pt x="6492394" y="703272"/>
                </a:lnTo>
                <a:lnTo>
                  <a:pt x="6493969" y="703272"/>
                </a:lnTo>
                <a:lnTo>
                  <a:pt x="6494494" y="701708"/>
                </a:lnTo>
                <a:lnTo>
                  <a:pt x="6491870" y="700665"/>
                </a:lnTo>
                <a:lnTo>
                  <a:pt x="6491870" y="700665"/>
                </a:lnTo>
                <a:lnTo>
                  <a:pt x="6494494" y="701708"/>
                </a:lnTo>
                <a:lnTo>
                  <a:pt x="6823023" y="6256"/>
                </a:lnTo>
                <a:lnTo>
                  <a:pt x="6820399" y="5213"/>
                </a:lnTo>
                <a:lnTo>
                  <a:pt x="6820399" y="5213"/>
                </a:lnTo>
                <a:lnTo>
                  <a:pt x="6823023" y="6256"/>
                </a:lnTo>
                <a:lnTo>
                  <a:pt x="6823548" y="4692"/>
                </a:lnTo>
                <a:lnTo>
                  <a:pt x="6824073" y="6256"/>
                </a:lnTo>
                <a:lnTo>
                  <a:pt x="7152603" y="701708"/>
                </a:lnTo>
                <a:lnTo>
                  <a:pt x="7155227" y="700665"/>
                </a:lnTo>
                <a:lnTo>
                  <a:pt x="7155227" y="700665"/>
                </a:lnTo>
                <a:lnTo>
                  <a:pt x="7152603" y="701708"/>
                </a:lnTo>
                <a:lnTo>
                  <a:pt x="7153127" y="703272"/>
                </a:lnTo>
                <a:lnTo>
                  <a:pt x="7154702" y="703272"/>
                </a:lnTo>
                <a:lnTo>
                  <a:pt x="7463813" y="703272"/>
                </a:lnTo>
                <a:lnTo>
                  <a:pt x="7466437" y="703272"/>
                </a:lnTo>
                <a:lnTo>
                  <a:pt x="7472735" y="703272"/>
                </a:lnTo>
                <a:lnTo>
                  <a:pt x="7476933" y="703272"/>
                </a:lnTo>
                <a:lnTo>
                  <a:pt x="7767152" y="703272"/>
                </a:lnTo>
                <a:lnTo>
                  <a:pt x="7769776" y="703272"/>
                </a:lnTo>
                <a:lnTo>
                  <a:pt x="7769776" y="700665"/>
                </a:lnTo>
                <a:lnTo>
                  <a:pt x="7769776" y="5213"/>
                </a:lnTo>
                <a:lnTo>
                  <a:pt x="7769776" y="2607"/>
                </a:lnTo>
                <a:lnTo>
                  <a:pt x="7768727" y="2607"/>
                </a:lnTo>
                <a:close/>
                <a:moveTo>
                  <a:pt x="6820924" y="5213"/>
                </a:moveTo>
                <a:lnTo>
                  <a:pt x="6820924" y="5213"/>
                </a:lnTo>
                <a:lnTo>
                  <a:pt x="6820924" y="5213"/>
                </a:lnTo>
                <a:lnTo>
                  <a:pt x="6820924" y="5213"/>
                </a:lnTo>
                <a:lnTo>
                  <a:pt x="6820924" y="5213"/>
                </a:lnTo>
                <a:close/>
                <a:moveTo>
                  <a:pt x="1609585" y="42228"/>
                </a:moveTo>
                <a:cubicBezTo>
                  <a:pt x="1539261" y="14076"/>
                  <a:pt x="1452143" y="0"/>
                  <a:pt x="1348231" y="0"/>
                </a:cubicBezTo>
                <a:cubicBezTo>
                  <a:pt x="1244319" y="0"/>
                  <a:pt x="1157201" y="14076"/>
                  <a:pt x="1086352" y="42228"/>
                </a:cubicBezTo>
                <a:cubicBezTo>
                  <a:pt x="1015503" y="70379"/>
                  <a:pt x="962497" y="111043"/>
                  <a:pt x="926285" y="163697"/>
                </a:cubicBezTo>
                <a:cubicBezTo>
                  <a:pt x="890074" y="216351"/>
                  <a:pt x="872230" y="280996"/>
                  <a:pt x="872230" y="356589"/>
                </a:cubicBezTo>
                <a:cubicBezTo>
                  <a:pt x="872230" y="432703"/>
                  <a:pt x="890074" y="494741"/>
                  <a:pt x="926285" y="547395"/>
                </a:cubicBezTo>
                <a:cubicBezTo>
                  <a:pt x="962497" y="600049"/>
                  <a:pt x="1015503" y="640713"/>
                  <a:pt x="1086352" y="668864"/>
                </a:cubicBezTo>
                <a:cubicBezTo>
                  <a:pt x="1157201" y="697016"/>
                  <a:pt x="1244319" y="711092"/>
                  <a:pt x="1348231" y="711092"/>
                </a:cubicBezTo>
                <a:cubicBezTo>
                  <a:pt x="1452143" y="711092"/>
                  <a:pt x="1539261" y="697016"/>
                  <a:pt x="1609585" y="668864"/>
                </a:cubicBezTo>
                <a:cubicBezTo>
                  <a:pt x="1679909" y="640713"/>
                  <a:pt x="1732915" y="600049"/>
                  <a:pt x="1769126" y="547395"/>
                </a:cubicBezTo>
                <a:cubicBezTo>
                  <a:pt x="1805338" y="494741"/>
                  <a:pt x="1823182" y="431139"/>
                  <a:pt x="1823182" y="356589"/>
                </a:cubicBezTo>
                <a:cubicBezTo>
                  <a:pt x="1823182" y="282039"/>
                  <a:pt x="1805338" y="216351"/>
                  <a:pt x="1769126" y="163697"/>
                </a:cubicBezTo>
                <a:cubicBezTo>
                  <a:pt x="1733439" y="111043"/>
                  <a:pt x="1679909" y="70379"/>
                  <a:pt x="1609585" y="42228"/>
                </a:cubicBezTo>
                <a:close/>
                <a:moveTo>
                  <a:pt x="1610110" y="480665"/>
                </a:moveTo>
                <a:cubicBezTo>
                  <a:pt x="1584919" y="512466"/>
                  <a:pt x="1549757" y="536447"/>
                  <a:pt x="1504623" y="551566"/>
                </a:cubicBezTo>
                <a:cubicBezTo>
                  <a:pt x="1459490" y="566684"/>
                  <a:pt x="1407534" y="574504"/>
                  <a:pt x="1348231" y="574504"/>
                </a:cubicBezTo>
                <a:cubicBezTo>
                  <a:pt x="1288927" y="574504"/>
                  <a:pt x="1236447" y="567205"/>
                  <a:pt x="1190264" y="551566"/>
                </a:cubicBezTo>
                <a:cubicBezTo>
                  <a:pt x="1144081" y="536447"/>
                  <a:pt x="1108394" y="512987"/>
                  <a:pt x="1082153" y="480665"/>
                </a:cubicBezTo>
                <a:cubicBezTo>
                  <a:pt x="1055913" y="448864"/>
                  <a:pt x="1042793" y="407158"/>
                  <a:pt x="1042793" y="356589"/>
                </a:cubicBezTo>
                <a:cubicBezTo>
                  <a:pt x="1042793" y="306020"/>
                  <a:pt x="1055913" y="264314"/>
                  <a:pt x="1082153" y="231991"/>
                </a:cubicBezTo>
                <a:cubicBezTo>
                  <a:pt x="1108394" y="199669"/>
                  <a:pt x="1144081" y="175688"/>
                  <a:pt x="1190264" y="160048"/>
                </a:cubicBezTo>
                <a:cubicBezTo>
                  <a:pt x="1236447" y="144408"/>
                  <a:pt x="1288927" y="136588"/>
                  <a:pt x="1348231" y="136588"/>
                </a:cubicBezTo>
                <a:cubicBezTo>
                  <a:pt x="1407534" y="136588"/>
                  <a:pt x="1459490" y="144408"/>
                  <a:pt x="1504623" y="160048"/>
                </a:cubicBezTo>
                <a:cubicBezTo>
                  <a:pt x="1549232" y="175688"/>
                  <a:pt x="1584919" y="199669"/>
                  <a:pt x="1610110" y="231991"/>
                </a:cubicBezTo>
                <a:cubicBezTo>
                  <a:pt x="1635300" y="264314"/>
                  <a:pt x="1648421" y="306020"/>
                  <a:pt x="1648421" y="356589"/>
                </a:cubicBezTo>
                <a:cubicBezTo>
                  <a:pt x="1648421" y="407158"/>
                  <a:pt x="1635825" y="448864"/>
                  <a:pt x="1610110" y="480665"/>
                </a:cubicBezTo>
                <a:close/>
                <a:moveTo>
                  <a:pt x="697469" y="70901"/>
                </a:moveTo>
                <a:lnTo>
                  <a:pt x="697469" y="70901"/>
                </a:lnTo>
                <a:cubicBezTo>
                  <a:pt x="670704" y="52133"/>
                  <a:pt x="638691" y="38057"/>
                  <a:pt x="602479" y="28673"/>
                </a:cubicBezTo>
                <a:cubicBezTo>
                  <a:pt x="566267" y="19810"/>
                  <a:pt x="527432" y="15119"/>
                  <a:pt x="486497" y="15119"/>
                </a:cubicBezTo>
                <a:lnTo>
                  <a:pt x="0" y="15119"/>
                </a:lnTo>
                <a:lnTo>
                  <a:pt x="0" y="697016"/>
                </a:lnTo>
                <a:lnTo>
                  <a:pt x="165314" y="697016"/>
                </a:lnTo>
                <a:lnTo>
                  <a:pt x="165314" y="484314"/>
                </a:lnTo>
                <a:lnTo>
                  <a:pt x="486497" y="484314"/>
                </a:lnTo>
                <a:cubicBezTo>
                  <a:pt x="527432" y="484314"/>
                  <a:pt x="566267" y="480665"/>
                  <a:pt x="602479" y="473366"/>
                </a:cubicBezTo>
                <a:cubicBezTo>
                  <a:pt x="638691" y="466068"/>
                  <a:pt x="670704" y="453556"/>
                  <a:pt x="697469" y="435831"/>
                </a:cubicBezTo>
                <a:cubicBezTo>
                  <a:pt x="724234" y="418105"/>
                  <a:pt x="745227" y="394646"/>
                  <a:pt x="760446" y="364930"/>
                </a:cubicBezTo>
                <a:cubicBezTo>
                  <a:pt x="775666" y="335214"/>
                  <a:pt x="783013" y="299243"/>
                  <a:pt x="783013" y="255972"/>
                </a:cubicBezTo>
                <a:cubicBezTo>
                  <a:pt x="783013" y="212702"/>
                  <a:pt x="775666" y="175166"/>
                  <a:pt x="760446" y="144408"/>
                </a:cubicBezTo>
                <a:cubicBezTo>
                  <a:pt x="745227" y="114692"/>
                  <a:pt x="724234" y="89669"/>
                  <a:pt x="697469" y="70901"/>
                </a:cubicBezTo>
                <a:close/>
                <a:moveTo>
                  <a:pt x="587260" y="332086"/>
                </a:moveTo>
                <a:cubicBezTo>
                  <a:pt x="566792" y="349290"/>
                  <a:pt x="539502" y="358153"/>
                  <a:pt x="505390" y="358153"/>
                </a:cubicBezTo>
                <a:lnTo>
                  <a:pt x="165314" y="358153"/>
                </a:lnTo>
                <a:lnTo>
                  <a:pt x="165314" y="154313"/>
                </a:lnTo>
                <a:lnTo>
                  <a:pt x="505390" y="154313"/>
                </a:lnTo>
                <a:cubicBezTo>
                  <a:pt x="539502" y="154313"/>
                  <a:pt x="566267" y="162654"/>
                  <a:pt x="587260" y="179858"/>
                </a:cubicBezTo>
                <a:cubicBezTo>
                  <a:pt x="607727" y="196541"/>
                  <a:pt x="618223" y="222607"/>
                  <a:pt x="618223" y="257015"/>
                </a:cubicBezTo>
                <a:cubicBezTo>
                  <a:pt x="618223" y="291423"/>
                  <a:pt x="607727" y="314882"/>
                  <a:pt x="587260" y="332086"/>
                </a:cubicBezTo>
                <a:close/>
                <a:moveTo>
                  <a:pt x="2573656" y="360759"/>
                </a:moveTo>
                <a:lnTo>
                  <a:pt x="2573656" y="360759"/>
                </a:lnTo>
                <a:cubicBezTo>
                  <a:pt x="2547416" y="346162"/>
                  <a:pt x="2516452" y="333650"/>
                  <a:pt x="2479716" y="324266"/>
                </a:cubicBezTo>
                <a:cubicBezTo>
                  <a:pt x="2442979" y="314882"/>
                  <a:pt x="2400995" y="308105"/>
                  <a:pt x="2353762" y="303413"/>
                </a:cubicBezTo>
                <a:cubicBezTo>
                  <a:pt x="2304955" y="299243"/>
                  <a:pt x="2264545" y="294551"/>
                  <a:pt x="2232531" y="288816"/>
                </a:cubicBezTo>
                <a:cubicBezTo>
                  <a:pt x="2200518" y="283081"/>
                  <a:pt x="2175327" y="277347"/>
                  <a:pt x="2156959" y="271091"/>
                </a:cubicBezTo>
                <a:cubicBezTo>
                  <a:pt x="2138591" y="264835"/>
                  <a:pt x="2125471" y="257015"/>
                  <a:pt x="2118123" y="248152"/>
                </a:cubicBezTo>
                <a:cubicBezTo>
                  <a:pt x="2110776" y="239290"/>
                  <a:pt x="2107102" y="228863"/>
                  <a:pt x="2107102" y="215830"/>
                </a:cubicBezTo>
                <a:cubicBezTo>
                  <a:pt x="2107102" y="185593"/>
                  <a:pt x="2122322" y="164740"/>
                  <a:pt x="2152761" y="152749"/>
                </a:cubicBezTo>
                <a:cubicBezTo>
                  <a:pt x="2183200" y="140759"/>
                  <a:pt x="2224135" y="135024"/>
                  <a:pt x="2275566" y="135024"/>
                </a:cubicBezTo>
                <a:cubicBezTo>
                  <a:pt x="2326997" y="135024"/>
                  <a:pt x="2373180" y="143365"/>
                  <a:pt x="2406768" y="160569"/>
                </a:cubicBezTo>
                <a:cubicBezTo>
                  <a:pt x="2440355" y="177252"/>
                  <a:pt x="2458724" y="204882"/>
                  <a:pt x="2462397" y="242939"/>
                </a:cubicBezTo>
                <a:lnTo>
                  <a:pt x="2626662" y="242939"/>
                </a:lnTo>
                <a:cubicBezTo>
                  <a:pt x="2628236" y="166825"/>
                  <a:pt x="2598847" y="107394"/>
                  <a:pt x="2538494" y="64645"/>
                </a:cubicBezTo>
                <a:cubicBezTo>
                  <a:pt x="2477617" y="21374"/>
                  <a:pt x="2392073" y="0"/>
                  <a:pt x="2280289" y="0"/>
                </a:cubicBezTo>
                <a:cubicBezTo>
                  <a:pt x="2206291" y="0"/>
                  <a:pt x="2143314" y="8341"/>
                  <a:pt x="2091883" y="25545"/>
                </a:cubicBezTo>
                <a:cubicBezTo>
                  <a:pt x="2040452" y="42228"/>
                  <a:pt x="2002141" y="66730"/>
                  <a:pt x="1976425" y="98010"/>
                </a:cubicBezTo>
                <a:cubicBezTo>
                  <a:pt x="1950710" y="129289"/>
                  <a:pt x="1937590" y="166304"/>
                  <a:pt x="1937590" y="208010"/>
                </a:cubicBezTo>
                <a:cubicBezTo>
                  <a:pt x="1937590" y="240332"/>
                  <a:pt x="1945462" y="267963"/>
                  <a:pt x="1960681" y="291423"/>
                </a:cubicBezTo>
                <a:cubicBezTo>
                  <a:pt x="1976425" y="314882"/>
                  <a:pt x="1997943" y="334172"/>
                  <a:pt x="2025757" y="349811"/>
                </a:cubicBezTo>
                <a:cubicBezTo>
                  <a:pt x="2053572" y="365451"/>
                  <a:pt x="2086635" y="378484"/>
                  <a:pt x="2124421" y="388390"/>
                </a:cubicBezTo>
                <a:cubicBezTo>
                  <a:pt x="2162207" y="398295"/>
                  <a:pt x="2203667" y="405072"/>
                  <a:pt x="2248801" y="408200"/>
                </a:cubicBezTo>
                <a:cubicBezTo>
                  <a:pt x="2306529" y="414456"/>
                  <a:pt x="2353237" y="420712"/>
                  <a:pt x="2388399" y="426447"/>
                </a:cubicBezTo>
                <a:cubicBezTo>
                  <a:pt x="2423561" y="432181"/>
                  <a:pt x="2448752" y="440001"/>
                  <a:pt x="2463972" y="449906"/>
                </a:cubicBezTo>
                <a:cubicBezTo>
                  <a:pt x="2479716" y="459290"/>
                  <a:pt x="2487063" y="472845"/>
                  <a:pt x="2487063" y="490570"/>
                </a:cubicBezTo>
                <a:cubicBezTo>
                  <a:pt x="2487063" y="509338"/>
                  <a:pt x="2481290" y="525499"/>
                  <a:pt x="2469745" y="538532"/>
                </a:cubicBezTo>
                <a:cubicBezTo>
                  <a:pt x="2458199" y="551566"/>
                  <a:pt x="2439830" y="561471"/>
                  <a:pt x="2415165" y="568248"/>
                </a:cubicBezTo>
                <a:cubicBezTo>
                  <a:pt x="2390499" y="575025"/>
                  <a:pt x="2358485" y="578153"/>
                  <a:pt x="2318600" y="578153"/>
                </a:cubicBezTo>
                <a:cubicBezTo>
                  <a:pt x="2276091" y="578153"/>
                  <a:pt x="2238304" y="573461"/>
                  <a:pt x="2204717" y="563556"/>
                </a:cubicBezTo>
                <a:cubicBezTo>
                  <a:pt x="2171129" y="553651"/>
                  <a:pt x="2144364" y="540096"/>
                  <a:pt x="2123896" y="522371"/>
                </a:cubicBezTo>
                <a:cubicBezTo>
                  <a:pt x="2103954" y="504646"/>
                  <a:pt x="2091883" y="484835"/>
                  <a:pt x="2088209" y="462418"/>
                </a:cubicBezTo>
                <a:lnTo>
                  <a:pt x="1915548" y="462418"/>
                </a:lnTo>
                <a:cubicBezTo>
                  <a:pt x="1915023" y="483271"/>
                  <a:pt x="1919221" y="505689"/>
                  <a:pt x="1928143" y="529148"/>
                </a:cubicBezTo>
                <a:cubicBezTo>
                  <a:pt x="1937065" y="552608"/>
                  <a:pt x="1951759" y="575025"/>
                  <a:pt x="1972227" y="596921"/>
                </a:cubicBezTo>
                <a:cubicBezTo>
                  <a:pt x="1992170" y="618817"/>
                  <a:pt x="2018410" y="638627"/>
                  <a:pt x="2049374" y="655831"/>
                </a:cubicBezTo>
                <a:cubicBezTo>
                  <a:pt x="2080862" y="673556"/>
                  <a:pt x="2117599" y="687111"/>
                  <a:pt x="2159583" y="697538"/>
                </a:cubicBezTo>
                <a:cubicBezTo>
                  <a:pt x="2201568" y="707964"/>
                  <a:pt x="2249850" y="712656"/>
                  <a:pt x="2304430" y="712656"/>
                </a:cubicBezTo>
                <a:cubicBezTo>
                  <a:pt x="2385250" y="712656"/>
                  <a:pt x="2450851" y="704315"/>
                  <a:pt x="2501758" y="687632"/>
                </a:cubicBezTo>
                <a:cubicBezTo>
                  <a:pt x="2552664" y="670950"/>
                  <a:pt x="2589925" y="646969"/>
                  <a:pt x="2613542" y="615689"/>
                </a:cubicBezTo>
                <a:cubicBezTo>
                  <a:pt x="2637158" y="584409"/>
                  <a:pt x="2649229" y="546352"/>
                  <a:pt x="2649229" y="502039"/>
                </a:cubicBezTo>
                <a:cubicBezTo>
                  <a:pt x="2649229" y="469196"/>
                  <a:pt x="2642931" y="441044"/>
                  <a:pt x="2630336" y="417584"/>
                </a:cubicBezTo>
                <a:cubicBezTo>
                  <a:pt x="2618790" y="394646"/>
                  <a:pt x="2599372" y="375878"/>
                  <a:pt x="2573656" y="360759"/>
                </a:cubicBezTo>
                <a:close/>
                <a:moveTo>
                  <a:pt x="4264586" y="14597"/>
                </a:moveTo>
                <a:lnTo>
                  <a:pt x="4586818" y="696495"/>
                </a:lnTo>
                <a:lnTo>
                  <a:pt x="4747934" y="696495"/>
                </a:lnTo>
                <a:lnTo>
                  <a:pt x="4447220" y="14597"/>
                </a:lnTo>
                <a:lnTo>
                  <a:pt x="4264586" y="14597"/>
                </a:lnTo>
                <a:close/>
                <a:moveTo>
                  <a:pt x="5317351" y="696495"/>
                </a:moveTo>
                <a:lnTo>
                  <a:pt x="6000650" y="696495"/>
                </a:lnTo>
                <a:lnTo>
                  <a:pt x="6064152" y="562513"/>
                </a:lnTo>
                <a:lnTo>
                  <a:pt x="5482665" y="562513"/>
                </a:lnTo>
                <a:lnTo>
                  <a:pt x="5482665" y="411328"/>
                </a:lnTo>
                <a:lnTo>
                  <a:pt x="5960765" y="411328"/>
                </a:lnTo>
                <a:lnTo>
                  <a:pt x="5960765" y="301849"/>
                </a:lnTo>
                <a:lnTo>
                  <a:pt x="5482665" y="301849"/>
                </a:lnTo>
                <a:lnTo>
                  <a:pt x="5482665" y="148579"/>
                </a:lnTo>
                <a:lnTo>
                  <a:pt x="6065726" y="148579"/>
                </a:lnTo>
                <a:lnTo>
                  <a:pt x="6065726" y="14597"/>
                </a:lnTo>
                <a:lnTo>
                  <a:pt x="5317351" y="14597"/>
                </a:lnTo>
                <a:lnTo>
                  <a:pt x="5317351" y="696495"/>
                </a:lnTo>
                <a:close/>
                <a:moveTo>
                  <a:pt x="2792501" y="696495"/>
                </a:moveTo>
                <a:lnTo>
                  <a:pt x="2957815" y="696495"/>
                </a:lnTo>
                <a:lnTo>
                  <a:pt x="2957815" y="14597"/>
                </a:lnTo>
                <a:lnTo>
                  <a:pt x="2792501" y="14597"/>
                </a:lnTo>
                <a:lnTo>
                  <a:pt x="2792501" y="696495"/>
                </a:lnTo>
                <a:close/>
                <a:moveTo>
                  <a:pt x="4747934" y="696495"/>
                </a:moveTo>
                <a:lnTo>
                  <a:pt x="4909050" y="696495"/>
                </a:lnTo>
                <a:lnTo>
                  <a:pt x="5231807" y="14597"/>
                </a:lnTo>
                <a:lnTo>
                  <a:pt x="5049699" y="14597"/>
                </a:lnTo>
                <a:lnTo>
                  <a:pt x="4747934" y="696495"/>
                </a:lnTo>
                <a:close/>
                <a:moveTo>
                  <a:pt x="3079571" y="148579"/>
                </a:moveTo>
                <a:lnTo>
                  <a:pt x="3396555" y="148579"/>
                </a:lnTo>
                <a:lnTo>
                  <a:pt x="3396555" y="696495"/>
                </a:lnTo>
                <a:lnTo>
                  <a:pt x="3561869" y="696495"/>
                </a:lnTo>
                <a:lnTo>
                  <a:pt x="3561869" y="148579"/>
                </a:lnTo>
                <a:lnTo>
                  <a:pt x="3878853" y="148579"/>
                </a:lnTo>
                <a:lnTo>
                  <a:pt x="3878853" y="14597"/>
                </a:lnTo>
                <a:lnTo>
                  <a:pt x="3079571" y="14597"/>
                </a:lnTo>
                <a:lnTo>
                  <a:pt x="3079571" y="148579"/>
                </a:lnTo>
                <a:close/>
                <a:moveTo>
                  <a:pt x="4001658" y="696495"/>
                </a:moveTo>
                <a:lnTo>
                  <a:pt x="4166972" y="696495"/>
                </a:lnTo>
                <a:lnTo>
                  <a:pt x="4166972" y="14597"/>
                </a:lnTo>
                <a:lnTo>
                  <a:pt x="4001658" y="14597"/>
                </a:lnTo>
                <a:lnTo>
                  <a:pt x="4001658" y="696495"/>
                </a:lnTo>
                <a:close/>
              </a:path>
            </a:pathLst>
          </a:custGeom>
          <a:solidFill>
            <a:srgbClr val="1926BA"/>
          </a:solidFill>
          <a:ln w="5248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5" name="Forme libre 4">
            <a:extLst>
              <a:ext uri="{FF2B5EF4-FFF2-40B4-BE49-F238E27FC236}">
                <a16:creationId xmlns:a16="http://schemas.microsoft.com/office/drawing/2014/main" id="{C9266528-17E6-A53D-A885-88547CAE3633}"/>
              </a:ext>
            </a:extLst>
          </p:cNvPr>
          <p:cNvSpPr/>
          <p:nvPr userDrawn="1"/>
        </p:nvSpPr>
        <p:spPr>
          <a:xfrm>
            <a:off x="3282462" y="0"/>
            <a:ext cx="8909539" cy="2784118"/>
          </a:xfrm>
          <a:custGeom>
            <a:avLst/>
            <a:gdLst>
              <a:gd name="connsiteX0" fmla="*/ 4566112 w 8909539"/>
              <a:gd name="connsiteY0" fmla="*/ 0 h 2784118"/>
              <a:gd name="connsiteX1" fmla="*/ 6505356 w 8909539"/>
              <a:gd name="connsiteY1" fmla="*/ 0 h 2784118"/>
              <a:gd name="connsiteX2" fmla="*/ 7734291 w 8909539"/>
              <a:gd name="connsiteY2" fmla="*/ 2612120 h 2784118"/>
              <a:gd name="connsiteX3" fmla="*/ 7734291 w 8909539"/>
              <a:gd name="connsiteY3" fmla="*/ 0 h 2784118"/>
              <a:gd name="connsiteX4" fmla="*/ 8909539 w 8909539"/>
              <a:gd name="connsiteY4" fmla="*/ 0 h 2784118"/>
              <a:gd name="connsiteX5" fmla="*/ 8909539 w 8909539"/>
              <a:gd name="connsiteY5" fmla="*/ 2784118 h 2784118"/>
              <a:gd name="connsiteX6" fmla="*/ 5873550 w 8909539"/>
              <a:gd name="connsiteY6" fmla="*/ 2784118 h 2784118"/>
              <a:gd name="connsiteX7" fmla="*/ 5870419 w 8909539"/>
              <a:gd name="connsiteY7" fmla="*/ 2774737 h 2784118"/>
              <a:gd name="connsiteX8" fmla="*/ 1309901 w 8909539"/>
              <a:gd name="connsiteY8" fmla="*/ 0 h 2784118"/>
              <a:gd name="connsiteX9" fmla="*/ 3245446 w 8909539"/>
              <a:gd name="connsiteY9" fmla="*/ 0 h 2784118"/>
              <a:gd name="connsiteX10" fmla="*/ 1939054 w 8909539"/>
              <a:gd name="connsiteY10" fmla="*/ 2774737 h 2784118"/>
              <a:gd name="connsiteX11" fmla="*/ 1935922 w 8909539"/>
              <a:gd name="connsiteY11" fmla="*/ 2784118 h 2784118"/>
              <a:gd name="connsiteX12" fmla="*/ 0 w 8909539"/>
              <a:gd name="connsiteY12" fmla="*/ 2784118 h 2784118"/>
              <a:gd name="connsiteX13" fmla="*/ 9397 w 8909539"/>
              <a:gd name="connsiteY13" fmla="*/ 2762228 h 2784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909539" h="2784118">
                <a:moveTo>
                  <a:pt x="4566112" y="0"/>
                </a:moveTo>
                <a:lnTo>
                  <a:pt x="6505356" y="0"/>
                </a:lnTo>
                <a:lnTo>
                  <a:pt x="7734291" y="2612120"/>
                </a:lnTo>
                <a:lnTo>
                  <a:pt x="7734291" y="0"/>
                </a:lnTo>
                <a:lnTo>
                  <a:pt x="8909539" y="0"/>
                </a:lnTo>
                <a:lnTo>
                  <a:pt x="8909539" y="2784118"/>
                </a:lnTo>
                <a:lnTo>
                  <a:pt x="5873550" y="2784118"/>
                </a:lnTo>
                <a:lnTo>
                  <a:pt x="5870419" y="2774737"/>
                </a:lnTo>
                <a:close/>
                <a:moveTo>
                  <a:pt x="1309901" y="0"/>
                </a:moveTo>
                <a:lnTo>
                  <a:pt x="3245446" y="0"/>
                </a:lnTo>
                <a:lnTo>
                  <a:pt x="1939054" y="2774737"/>
                </a:lnTo>
                <a:lnTo>
                  <a:pt x="1935922" y="2784118"/>
                </a:lnTo>
                <a:lnTo>
                  <a:pt x="0" y="2784118"/>
                </a:lnTo>
                <a:lnTo>
                  <a:pt x="9397" y="2762228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128506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raphique 5">
            <a:extLst>
              <a:ext uri="{FF2B5EF4-FFF2-40B4-BE49-F238E27FC236}">
                <a16:creationId xmlns:a16="http://schemas.microsoft.com/office/drawing/2014/main" id="{558C791F-10EC-105F-7E27-69B87D5AA1C0}"/>
              </a:ext>
            </a:extLst>
          </p:cNvPr>
          <p:cNvSpPr/>
          <p:nvPr/>
        </p:nvSpPr>
        <p:spPr>
          <a:xfrm>
            <a:off x="480650" y="0"/>
            <a:ext cx="2432535" cy="2639169"/>
          </a:xfrm>
          <a:custGeom>
            <a:avLst/>
            <a:gdLst>
              <a:gd name="connsiteX0" fmla="*/ 1546789 w 3046100"/>
              <a:gd name="connsiteY0" fmla="*/ 0 h 3304854"/>
              <a:gd name="connsiteX1" fmla="*/ 0 w 3046100"/>
              <a:gd name="connsiteY1" fmla="*/ 3304855 h 3304854"/>
              <a:gd name="connsiteX2" fmla="*/ 1499312 w 3046100"/>
              <a:gd name="connsiteY2" fmla="*/ 3304855 h 3304854"/>
              <a:gd name="connsiteX3" fmla="*/ 3046101 w 3046100"/>
              <a:gd name="connsiteY3" fmla="*/ 0 h 330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6100" h="3304854">
                <a:moveTo>
                  <a:pt x="1546789" y="0"/>
                </a:moveTo>
                <a:lnTo>
                  <a:pt x="0" y="3304855"/>
                </a:lnTo>
                <a:lnTo>
                  <a:pt x="1499312" y="3304855"/>
                </a:lnTo>
                <a:lnTo>
                  <a:pt x="3046101" y="0"/>
                </a:lnTo>
                <a:close/>
              </a:path>
            </a:pathLst>
          </a:custGeom>
          <a:solidFill>
            <a:schemeClr val="bg2"/>
          </a:solidFill>
          <a:ln w="9495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5F731B6-E27A-E96D-BDBA-A2A194EEF4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9" y="488415"/>
            <a:ext cx="10515600" cy="1325563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1DC6BED-A945-644B-73B4-4EBEDC9F800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Nom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C821AAE-B262-3441-2744-FA0ED8B4BB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39866C2-A242-5F42-9BF9-B1A825A27D54}" type="slidenum">
              <a:rPr lang="fr-FR" smtClean="0"/>
              <a:pPr/>
              <a:t>‹#›</a:t>
            </a:fld>
            <a:endParaRPr lang="fr-FR" dirty="0"/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54DAD5EB-AC9F-6B9C-E9F9-776034E8CF4E}"/>
              </a:ext>
            </a:extLst>
          </p:cNvPr>
          <p:cNvCxnSpPr>
            <a:cxnSpLocks/>
          </p:cNvCxnSpPr>
          <p:nvPr userDrawn="1"/>
        </p:nvCxnSpPr>
        <p:spPr>
          <a:xfrm>
            <a:off x="11558257" y="5934075"/>
            <a:ext cx="0" cy="29164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que 10">
            <a:extLst>
              <a:ext uri="{FF2B5EF4-FFF2-40B4-BE49-F238E27FC236}">
                <a16:creationId xmlns:a16="http://schemas.microsoft.com/office/drawing/2014/main" id="{16BA8374-3698-BC77-BFB9-F10EE55D24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05514" y="377563"/>
            <a:ext cx="505486" cy="221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88314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 (blanc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5F731B6-E27A-E96D-BDBA-A2A194EEF4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52601" y="3899743"/>
            <a:ext cx="9805651" cy="1627688"/>
          </a:xfrm>
        </p:spPr>
        <p:txBody>
          <a:bodyPr anchor="t"/>
          <a:lstStyle>
            <a:lvl1pPr>
              <a:defRPr sz="6000"/>
            </a:lvl1pPr>
          </a:lstStyle>
          <a:p>
            <a:r>
              <a:rPr lang="fr-FR" dirty="0"/>
              <a:t>Titre de la sous section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1DC6BED-A945-644B-73B4-4EBEDC9F800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Nom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C821AAE-B262-3441-2744-FA0ED8B4BB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39866C2-A242-5F42-9BF9-B1A825A27D54}" type="slidenum">
              <a:rPr lang="fr-FR" smtClean="0"/>
              <a:pPr/>
              <a:t>‹#›</a:t>
            </a:fld>
            <a:endParaRPr lang="fr-FR" dirty="0"/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54DAD5EB-AC9F-6B9C-E9F9-776034E8CF4E}"/>
              </a:ext>
            </a:extLst>
          </p:cNvPr>
          <p:cNvCxnSpPr>
            <a:cxnSpLocks/>
          </p:cNvCxnSpPr>
          <p:nvPr userDrawn="1"/>
        </p:nvCxnSpPr>
        <p:spPr>
          <a:xfrm>
            <a:off x="11558257" y="5934075"/>
            <a:ext cx="0" cy="29164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que 10">
            <a:extLst>
              <a:ext uri="{FF2B5EF4-FFF2-40B4-BE49-F238E27FC236}">
                <a16:creationId xmlns:a16="http://schemas.microsoft.com/office/drawing/2014/main" id="{16BA8374-3698-BC77-BFB9-F10EE55D24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05514" y="377563"/>
            <a:ext cx="505486" cy="221704"/>
          </a:xfrm>
          <a:prstGeom prst="rect">
            <a:avLst/>
          </a:prstGeom>
        </p:spPr>
      </p:pic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85C794B8-BD32-84B3-E3AB-086C8FDBD20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-726464" y="818232"/>
            <a:ext cx="3892091" cy="3339376"/>
          </a:xfrm>
        </p:spPr>
        <p:txBody>
          <a:bodyPr wrap="none" anchor="ctr">
            <a:spAutoFit/>
          </a:bodyPr>
          <a:lstStyle>
            <a:lvl1pPr algn="l">
              <a:defRPr sz="21700"/>
            </a:lvl1pPr>
          </a:lstStyle>
          <a:p>
            <a:pPr lvl="0"/>
            <a:r>
              <a:rPr lang="fr-FR" dirty="0"/>
              <a:t>01.</a:t>
            </a:r>
          </a:p>
        </p:txBody>
      </p:sp>
    </p:spTree>
    <p:extLst>
      <p:ext uri="{BB962C8B-B14F-4D97-AF65-F5344CB8AC3E}">
        <p14:creationId xmlns:p14="http://schemas.microsoft.com/office/powerpoint/2010/main" val="16016874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 (flamingo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5F731B6-E27A-E96D-BDBA-A2A194EEF4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52601" y="3899743"/>
            <a:ext cx="9805651" cy="1627688"/>
          </a:xfrm>
        </p:spPr>
        <p:txBody>
          <a:bodyPr anchor="t"/>
          <a:lstStyle>
            <a:lvl1pPr>
              <a:defRPr sz="6000"/>
            </a:lvl1pPr>
          </a:lstStyle>
          <a:p>
            <a:r>
              <a:rPr lang="fr-FR" dirty="0"/>
              <a:t>Titre de la sous section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1DC6BED-A945-644B-73B4-4EBEDC9F800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Nom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C821AAE-B262-3441-2744-FA0ED8B4BB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39866C2-A242-5F42-9BF9-B1A825A27D54}" type="slidenum">
              <a:rPr lang="fr-FR" smtClean="0"/>
              <a:pPr/>
              <a:t>‹#›</a:t>
            </a:fld>
            <a:endParaRPr lang="fr-FR" dirty="0"/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54DAD5EB-AC9F-6B9C-E9F9-776034E8CF4E}"/>
              </a:ext>
            </a:extLst>
          </p:cNvPr>
          <p:cNvCxnSpPr>
            <a:cxnSpLocks/>
          </p:cNvCxnSpPr>
          <p:nvPr userDrawn="1"/>
        </p:nvCxnSpPr>
        <p:spPr>
          <a:xfrm>
            <a:off x="11558257" y="5934075"/>
            <a:ext cx="0" cy="29164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que 10">
            <a:extLst>
              <a:ext uri="{FF2B5EF4-FFF2-40B4-BE49-F238E27FC236}">
                <a16:creationId xmlns:a16="http://schemas.microsoft.com/office/drawing/2014/main" id="{16BA8374-3698-BC77-BFB9-F10EE55D24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05514" y="377563"/>
            <a:ext cx="505486" cy="221704"/>
          </a:xfrm>
          <a:prstGeom prst="rect">
            <a:avLst/>
          </a:prstGeom>
        </p:spPr>
      </p:pic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85C794B8-BD32-84B3-E3AB-086C8FDBD20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-726464" y="818232"/>
            <a:ext cx="3892091" cy="3339376"/>
          </a:xfrm>
        </p:spPr>
        <p:txBody>
          <a:bodyPr wrap="none" anchor="ctr">
            <a:spAutoFit/>
          </a:bodyPr>
          <a:lstStyle>
            <a:lvl1pPr algn="l">
              <a:defRPr sz="21700"/>
            </a:lvl1pPr>
          </a:lstStyle>
          <a:p>
            <a:pPr lvl="0"/>
            <a:r>
              <a:rPr lang="fr-FR" dirty="0"/>
              <a:t>01.</a:t>
            </a:r>
          </a:p>
        </p:txBody>
      </p:sp>
    </p:spTree>
    <p:extLst>
      <p:ext uri="{BB962C8B-B14F-4D97-AF65-F5344CB8AC3E}">
        <p14:creationId xmlns:p14="http://schemas.microsoft.com/office/powerpoint/2010/main" val="41024182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 (lapis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5F731B6-E27A-E96D-BDBA-A2A194EEF4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52601" y="3899743"/>
            <a:ext cx="9805651" cy="1627688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 de la sous section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1DC6BED-A945-644B-73B4-4EBEDC9F800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Nom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C821AAE-B262-3441-2744-FA0ED8B4BB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39866C2-A242-5F42-9BF9-B1A825A27D54}" type="slidenum">
              <a:rPr lang="fr-FR" smtClean="0"/>
              <a:pPr/>
              <a:t>‹#›</a:t>
            </a:fld>
            <a:endParaRPr lang="fr-FR" dirty="0"/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54DAD5EB-AC9F-6B9C-E9F9-776034E8CF4E}"/>
              </a:ext>
            </a:extLst>
          </p:cNvPr>
          <p:cNvCxnSpPr>
            <a:cxnSpLocks/>
          </p:cNvCxnSpPr>
          <p:nvPr userDrawn="1"/>
        </p:nvCxnSpPr>
        <p:spPr>
          <a:xfrm>
            <a:off x="11558257" y="5934075"/>
            <a:ext cx="0" cy="291642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85C794B8-BD32-84B3-E3AB-086C8FDBD20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-726464" y="818232"/>
            <a:ext cx="3892091" cy="3339376"/>
          </a:xfrm>
        </p:spPr>
        <p:txBody>
          <a:bodyPr wrap="none" anchor="ctr">
            <a:spAutoFit/>
          </a:bodyPr>
          <a:lstStyle>
            <a:lvl1pPr algn="l">
              <a:defRPr sz="217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01.</a:t>
            </a:r>
          </a:p>
        </p:txBody>
      </p:sp>
      <p:pic>
        <p:nvPicPr>
          <p:cNvPr id="8" name="Graphique 7">
            <a:extLst>
              <a:ext uri="{FF2B5EF4-FFF2-40B4-BE49-F238E27FC236}">
                <a16:creationId xmlns:a16="http://schemas.microsoft.com/office/drawing/2014/main" id="{535B023F-3406-C1D9-FCF1-EB8138A3DD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07001" y="377563"/>
            <a:ext cx="503999" cy="221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574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court (blanc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5F731B6-E27A-E96D-BDBA-A2A194EEF4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98048" y="1923521"/>
            <a:ext cx="7648983" cy="1325563"/>
          </a:xfrm>
        </p:spPr>
        <p:txBody>
          <a:bodyPr/>
          <a:lstStyle/>
          <a:p>
            <a:r>
              <a:rPr lang="fr-FR" dirty="0"/>
              <a:t>Titre de la diapositive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1DC6BED-A945-644B-73B4-4EBEDC9F800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Nom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C821AAE-B262-3441-2744-FA0ED8B4BB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39866C2-A242-5F42-9BF9-B1A825A27D5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9D511F86-4520-F50F-6471-543FAAFB975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98048" y="3303970"/>
            <a:ext cx="7642800" cy="2020430"/>
          </a:xfrm>
        </p:spPr>
        <p:txBody>
          <a:bodyPr/>
          <a:lstStyle/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 (Puce niveau 1)</a:t>
            </a:r>
          </a:p>
          <a:p>
            <a:pPr lvl="4"/>
            <a:r>
              <a:rPr lang="fr-FR" dirty="0"/>
              <a:t>Texte de niveau 5 (Puce niveau 2)</a:t>
            </a:r>
          </a:p>
          <a:p>
            <a:pPr lvl="5"/>
            <a:r>
              <a:rPr lang="fr-FR" dirty="0"/>
              <a:t>Texte de niveau 6 (Puce niveau 3)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54DAD5EB-AC9F-6B9C-E9F9-776034E8CF4E}"/>
              </a:ext>
            </a:extLst>
          </p:cNvPr>
          <p:cNvCxnSpPr>
            <a:cxnSpLocks/>
          </p:cNvCxnSpPr>
          <p:nvPr userDrawn="1"/>
        </p:nvCxnSpPr>
        <p:spPr>
          <a:xfrm>
            <a:off x="11558257" y="5934075"/>
            <a:ext cx="0" cy="29164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que 10">
            <a:extLst>
              <a:ext uri="{FF2B5EF4-FFF2-40B4-BE49-F238E27FC236}">
                <a16:creationId xmlns:a16="http://schemas.microsoft.com/office/drawing/2014/main" id="{16BA8374-3698-BC77-BFB9-F10EE55D24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05514" y="377563"/>
            <a:ext cx="505486" cy="221704"/>
          </a:xfrm>
          <a:prstGeom prst="rect">
            <a:avLst/>
          </a:prstGeom>
        </p:spPr>
      </p:pic>
      <p:sp>
        <p:nvSpPr>
          <p:cNvPr id="13" name="Forme libre 12">
            <a:extLst>
              <a:ext uri="{FF2B5EF4-FFF2-40B4-BE49-F238E27FC236}">
                <a16:creationId xmlns:a16="http://schemas.microsoft.com/office/drawing/2014/main" id="{85E5FC65-622F-47F7-06F0-1E60E5FA2703}"/>
              </a:ext>
            </a:extLst>
          </p:cNvPr>
          <p:cNvSpPr/>
          <p:nvPr userDrawn="1"/>
        </p:nvSpPr>
        <p:spPr>
          <a:xfrm>
            <a:off x="0" y="1"/>
            <a:ext cx="1335182" cy="5993709"/>
          </a:xfrm>
          <a:custGeom>
            <a:avLst/>
            <a:gdLst>
              <a:gd name="connsiteX0" fmla="*/ 0 w 1335182"/>
              <a:gd name="connsiteY0" fmla="*/ 4679140 h 5993709"/>
              <a:gd name="connsiteX1" fmla="*/ 1335182 w 1335182"/>
              <a:gd name="connsiteY1" fmla="*/ 4679140 h 5993709"/>
              <a:gd name="connsiteX2" fmla="*/ 1335182 w 1335182"/>
              <a:gd name="connsiteY2" fmla="*/ 5993709 h 5993709"/>
              <a:gd name="connsiteX3" fmla="*/ 0 w 1335182"/>
              <a:gd name="connsiteY3" fmla="*/ 5993709 h 5993709"/>
              <a:gd name="connsiteX4" fmla="*/ 0 w 1335182"/>
              <a:gd name="connsiteY4" fmla="*/ 0 h 5993709"/>
              <a:gd name="connsiteX5" fmla="*/ 227721 w 1335182"/>
              <a:gd name="connsiteY5" fmla="*/ 0 h 5993709"/>
              <a:gd name="connsiteX6" fmla="*/ 1328407 w 1335182"/>
              <a:gd name="connsiteY6" fmla="*/ 518221 h 5993709"/>
              <a:gd name="connsiteX7" fmla="*/ 1335182 w 1335182"/>
              <a:gd name="connsiteY7" fmla="*/ 520483 h 5993709"/>
              <a:gd name="connsiteX8" fmla="*/ 1335182 w 1335182"/>
              <a:gd name="connsiteY8" fmla="*/ 3308006 h 5993709"/>
              <a:gd name="connsiteX9" fmla="*/ 1328407 w 1335182"/>
              <a:gd name="connsiteY9" fmla="*/ 3312529 h 5993709"/>
              <a:gd name="connsiteX10" fmla="*/ 0 w 1335182"/>
              <a:gd name="connsiteY10" fmla="*/ 3937510 h 5993709"/>
              <a:gd name="connsiteX11" fmla="*/ 0 w 1335182"/>
              <a:gd name="connsiteY11" fmla="*/ 2536698 h 5993709"/>
              <a:gd name="connsiteX12" fmla="*/ 1319372 w 1335182"/>
              <a:gd name="connsiteY12" fmla="*/ 1916507 h 5993709"/>
              <a:gd name="connsiteX13" fmla="*/ 1326147 w 1335182"/>
              <a:gd name="connsiteY13" fmla="*/ 1914243 h 5993709"/>
              <a:gd name="connsiteX14" fmla="*/ 1319372 w 1335182"/>
              <a:gd name="connsiteY14" fmla="*/ 1911982 h 5993709"/>
              <a:gd name="connsiteX15" fmla="*/ 0 w 1335182"/>
              <a:gd name="connsiteY15" fmla="*/ 1290800 h 5993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35182" h="5993709">
                <a:moveTo>
                  <a:pt x="0" y="4679140"/>
                </a:moveTo>
                <a:lnTo>
                  <a:pt x="1335182" y="4679140"/>
                </a:lnTo>
                <a:lnTo>
                  <a:pt x="1335182" y="5993709"/>
                </a:lnTo>
                <a:lnTo>
                  <a:pt x="0" y="5993709"/>
                </a:lnTo>
                <a:close/>
                <a:moveTo>
                  <a:pt x="0" y="0"/>
                </a:moveTo>
                <a:lnTo>
                  <a:pt x="227721" y="0"/>
                </a:lnTo>
                <a:lnTo>
                  <a:pt x="1328407" y="518221"/>
                </a:lnTo>
                <a:lnTo>
                  <a:pt x="1335182" y="520483"/>
                </a:lnTo>
                <a:lnTo>
                  <a:pt x="1335182" y="3308006"/>
                </a:lnTo>
                <a:lnTo>
                  <a:pt x="1328407" y="3312529"/>
                </a:lnTo>
                <a:lnTo>
                  <a:pt x="0" y="3937510"/>
                </a:lnTo>
                <a:lnTo>
                  <a:pt x="0" y="2536698"/>
                </a:lnTo>
                <a:lnTo>
                  <a:pt x="1319372" y="1916507"/>
                </a:lnTo>
                <a:lnTo>
                  <a:pt x="1326147" y="1914243"/>
                </a:lnTo>
                <a:lnTo>
                  <a:pt x="1319372" y="1911982"/>
                </a:lnTo>
                <a:lnTo>
                  <a:pt x="0" y="12908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002856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C45F092-6C58-78D4-CA3C-C480A7201A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47285755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7772400" imgH="10058400" progId="TCLayout.ActiveDocument.1">
                  <p:embed/>
                </p:oleObj>
              </mc:Choice>
              <mc:Fallback>
                <p:oleObj name="think-cell Slide" r:id="rId2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74D61F96-4547-76B3-B7FD-1DDA4EF063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9" y="68399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fr-FR" dirty="0"/>
              <a:t>Titre de la diapositiv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D3CF931-D8C2-79ED-250C-4BC71AA383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311245" y="1896011"/>
            <a:ext cx="7641774" cy="34283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dirty="0"/>
              <a:t>Texte de 1er niveau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 (Puce niveau 1)</a:t>
            </a:r>
          </a:p>
          <a:p>
            <a:pPr lvl="4"/>
            <a:r>
              <a:rPr lang="fr-FR" dirty="0"/>
              <a:t>Texte de niveau 5 (Puce niveau 2)</a:t>
            </a:r>
          </a:p>
          <a:p>
            <a:pPr lvl="5"/>
            <a:r>
              <a:rPr lang="fr-FR" dirty="0"/>
              <a:t>Texte de niveau 6 (Puce niveau 3)</a:t>
            </a: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32A5FCF-C3DE-28C4-C523-915260EB3A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0998" y="6247349"/>
            <a:ext cx="9823939" cy="365125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fr-FR"/>
              <a:t>Nom de la présentation</a:t>
            </a:r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8DE2FA9-ABE1-D739-F61E-060C05E5E9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5515" y="6247349"/>
            <a:ext cx="505485" cy="365125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fld id="{139866C2-A242-5F42-9BF9-B1A825A27D54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718388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5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1" r:id="rId22"/>
    <p:sldLayoutId id="2147483672" r:id="rId2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3000" kern="1200" baseline="0">
          <a:solidFill>
            <a:schemeClr val="tx1"/>
          </a:solidFill>
          <a:latin typeface="+mj-lt"/>
          <a:ea typeface="+mn-ea"/>
          <a:cs typeface="+mn-cs"/>
        </a:defRPr>
      </a:lvl1pPr>
      <a:lvl2pPr marL="635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635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8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268288" indent="-268288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Font typeface="Syne Regular" pitchFamily="2" charset="77"/>
        <a:buChar char="→"/>
        <a:tabLst/>
        <a:defRPr sz="1500" kern="1200">
          <a:solidFill>
            <a:schemeClr val="tx1"/>
          </a:solidFill>
          <a:latin typeface="+mj-lt"/>
          <a:ea typeface="+mn-ea"/>
          <a:cs typeface="+mn-cs"/>
        </a:defRPr>
      </a:lvl4pPr>
      <a:lvl5pPr marL="449263" indent="-138113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tx1"/>
        </a:buClr>
        <a:buSzPct val="80000"/>
        <a:buFont typeface="Wingdings" pitchFamily="2" charset="2"/>
        <a:buChar char="§"/>
        <a:tabLst/>
        <a:defRPr sz="18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755650" indent="-13335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SzPct val="80000"/>
        <a:buFont typeface="Wingdings" pitchFamily="2" charset="2"/>
        <a:buChar char="§"/>
        <a:tabLst/>
        <a:defRPr sz="1200" kern="1200">
          <a:solidFill>
            <a:schemeClr val="accent2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Positive AI">
      <a:dk1>
        <a:srgbClr val="1926BA"/>
      </a:dk1>
      <a:lt1>
        <a:srgbClr val="FFFFFF"/>
      </a:lt1>
      <a:dk2>
        <a:srgbClr val="1926BA"/>
      </a:dk2>
      <a:lt2>
        <a:srgbClr val="FFCBCB"/>
      </a:lt2>
      <a:accent1>
        <a:srgbClr val="FFF71E"/>
      </a:accent1>
      <a:accent2>
        <a:srgbClr val="323245"/>
      </a:accent2>
      <a:accent3>
        <a:srgbClr val="1526C1"/>
      </a:accent3>
      <a:accent4>
        <a:srgbClr val="FFCBCB"/>
      </a:accent4>
      <a:accent5>
        <a:srgbClr val="FFF71E"/>
      </a:accent5>
      <a:accent6>
        <a:srgbClr val="323245"/>
      </a:accent6>
      <a:hlink>
        <a:srgbClr val="1926BA"/>
      </a:hlink>
      <a:folHlink>
        <a:srgbClr val="FFCBCB"/>
      </a:folHlink>
    </a:clrScheme>
    <a:fontScheme name="Test">
      <a:majorFont>
        <a:latin typeface="Syne Bold"/>
        <a:ea typeface=""/>
        <a:cs typeface=""/>
      </a:majorFont>
      <a:minorFont>
        <a:latin typeface="Syne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90BF6B51F63EE41A96DA163641716A5" ma:contentTypeVersion="12" ma:contentTypeDescription="Create a new document." ma:contentTypeScope="" ma:versionID="3baf2b6ef4aff0af10a97323430c8f2b">
  <xsd:schema xmlns:xsd="http://www.w3.org/2001/XMLSchema" xmlns:xs="http://www.w3.org/2001/XMLSchema" xmlns:p="http://schemas.microsoft.com/office/2006/metadata/properties" xmlns:ns2="0f937a4f-4629-4d26-8d71-4343fa9fa6b0" xmlns:ns3="a7e03b19-6c30-4af5-9dfc-5af07ce1db2d" targetNamespace="http://schemas.microsoft.com/office/2006/metadata/properties" ma:root="true" ma:fieldsID="002e211bf281b60cc831dd8c16ce2bb9" ns2:_="" ns3:_="">
    <xsd:import namespace="0f937a4f-4629-4d26-8d71-4343fa9fa6b0"/>
    <xsd:import namespace="a7e03b19-6c30-4af5-9dfc-5af07ce1db2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PillierIA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937a4f-4629-4d26-8d71-4343fa9fa6b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01fd39e2-e4cb-4cd2-b8b3-330f05c8f7c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PillierIAR" ma:index="19" nillable="true" ma:displayName="Pillier IAR" ma:format="Dropdown" ma:indexed="true" ma:internalName="PillierIAR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e03b19-6c30-4af5-9dfc-5af07ce1db2d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80899703-9579-43ea-8521-9a99fa19001c}" ma:internalName="TaxCatchAll" ma:showField="CatchAllData" ma:web="a7e03b19-6c30-4af5-9dfc-5af07ce1db2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f937a4f-4629-4d26-8d71-4343fa9fa6b0">
      <Terms xmlns="http://schemas.microsoft.com/office/infopath/2007/PartnerControls"/>
    </lcf76f155ced4ddcb4097134ff3c332f>
    <TaxCatchAll xmlns="a7e03b19-6c30-4af5-9dfc-5af07ce1db2d" xsi:nil="true"/>
    <PillierIAR xmlns="0f937a4f-4629-4d26-8d71-4343fa9fa6b0" xsi:nil="true"/>
  </documentManagement>
</p:properties>
</file>

<file path=customXml/itemProps1.xml><?xml version="1.0" encoding="utf-8"?>
<ds:datastoreItem xmlns:ds="http://schemas.openxmlformats.org/officeDocument/2006/customXml" ds:itemID="{5ADDD671-4453-4A02-A172-9B87EA7F9B4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f937a4f-4629-4d26-8d71-4343fa9fa6b0"/>
    <ds:schemaRef ds:uri="a7e03b19-6c30-4af5-9dfc-5af07ce1db2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CFCF213-454E-440F-A880-37864542C1F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ABE383A-DECE-4060-B9D5-1CF607D40404}">
  <ds:schemaRefs>
    <ds:schemaRef ds:uri="http://purl.org/dc/dcmitype/"/>
    <ds:schemaRef ds:uri="a7e03b19-6c30-4af5-9dfc-5af07ce1db2d"/>
    <ds:schemaRef ds:uri="http://purl.org/dc/terms/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0f937a4f-4629-4d26-8d71-4343fa9fa6b0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47</TotalTime>
  <Words>0</Words>
  <Application>Microsoft Macintosh PowerPoint</Application>
  <PresentationFormat>Widescreen</PresentationFormat>
  <Paragraphs>0</Paragraphs>
  <Slides>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0</vt:i4>
      </vt:variant>
    </vt:vector>
  </HeadingPairs>
  <TitlesOfParts>
    <vt:vector size="8" baseType="lpstr">
      <vt:lpstr>Syne Regular</vt:lpstr>
      <vt:lpstr>Calibri</vt:lpstr>
      <vt:lpstr>Syne Medium</vt:lpstr>
      <vt:lpstr>Wingdings</vt:lpstr>
      <vt:lpstr>Arial</vt:lpstr>
      <vt:lpstr>Syne Bold</vt:lpstr>
      <vt:lpstr>Thème Office</vt:lpstr>
      <vt:lpstr>think-cell Slid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Baptiste Delval</dc:creator>
  <cp:lastModifiedBy>Hugo Vallet</cp:lastModifiedBy>
  <cp:revision>69</cp:revision>
  <dcterms:created xsi:type="dcterms:W3CDTF">2022-10-06T08:25:09Z</dcterms:created>
  <dcterms:modified xsi:type="dcterms:W3CDTF">2024-12-04T18:06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90BF6B51F63EE41A96DA163641716A5</vt:lpwstr>
  </property>
  <property fmtid="{D5CDD505-2E9C-101B-9397-08002B2CF9AE}" pid="3" name="Order">
    <vt:r8>364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_SourceUrl">
    <vt:lpwstr/>
  </property>
  <property fmtid="{D5CDD505-2E9C-101B-9397-08002B2CF9AE}" pid="7" name="_SharedFileIndex">
    <vt:lpwstr/>
  </property>
  <property fmtid="{D5CDD505-2E9C-101B-9397-08002B2CF9AE}" pid="8" name="ComplianceAssetId">
    <vt:lpwstr/>
  </property>
  <property fmtid="{D5CDD505-2E9C-101B-9397-08002B2CF9AE}" pid="9" name="TemplateUrl">
    <vt:lpwstr/>
  </property>
  <property fmtid="{D5CDD505-2E9C-101B-9397-08002B2CF9AE}" pid="10" name="_ExtendedDescription">
    <vt:lpwstr/>
  </property>
  <property fmtid="{D5CDD505-2E9C-101B-9397-08002B2CF9AE}" pid="11" name="TriggerFlowInfo">
    <vt:lpwstr/>
  </property>
</Properties>
</file>